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7" r:id="rId4"/>
    <p:sldMasterId id="2147483672" r:id="rId5"/>
    <p:sldMasterId id="2147483702" r:id="rId6"/>
    <p:sldMasterId id="2147483688" r:id="rId7"/>
    <p:sldMasterId id="2147483739" r:id="rId8"/>
    <p:sldMasterId id="2147483782" r:id="rId9"/>
    <p:sldMasterId id="2147483826" r:id="rId10"/>
    <p:sldMasterId id="2147483869" r:id="rId11"/>
  </p:sldMasterIdLst>
  <p:notesMasterIdLst>
    <p:notesMasterId r:id="rId37"/>
  </p:notesMasterIdLst>
  <p:handoutMasterIdLst>
    <p:handoutMasterId r:id="rId38"/>
  </p:handoutMasterIdLst>
  <p:sldIdLst>
    <p:sldId id="278" r:id="rId12"/>
    <p:sldId id="264" r:id="rId13"/>
    <p:sldId id="281" r:id="rId14"/>
    <p:sldId id="265" r:id="rId15"/>
    <p:sldId id="3300" r:id="rId16"/>
    <p:sldId id="283" r:id="rId17"/>
    <p:sldId id="276" r:id="rId18"/>
    <p:sldId id="284" r:id="rId19"/>
    <p:sldId id="3288" r:id="rId20"/>
    <p:sldId id="3290" r:id="rId21"/>
    <p:sldId id="3296" r:id="rId22"/>
    <p:sldId id="3297" r:id="rId23"/>
    <p:sldId id="430" r:id="rId24"/>
    <p:sldId id="440" r:id="rId25"/>
    <p:sldId id="428" r:id="rId26"/>
    <p:sldId id="432" r:id="rId27"/>
    <p:sldId id="445" r:id="rId28"/>
    <p:sldId id="451" r:id="rId29"/>
    <p:sldId id="454" r:id="rId30"/>
    <p:sldId id="452" r:id="rId31"/>
    <p:sldId id="3298" r:id="rId32"/>
    <p:sldId id="272" r:id="rId33"/>
    <p:sldId id="3299" r:id="rId34"/>
    <p:sldId id="280" r:id="rId35"/>
    <p:sldId id="269" r:id="rId36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 inndeling" id="{8A6106EA-F5C3-4C32-B2DB-F2BCFB09178E}">
          <p14:sldIdLst>
            <p14:sldId id="278"/>
            <p14:sldId id="264"/>
            <p14:sldId id="281"/>
            <p14:sldId id="265"/>
            <p14:sldId id="3300"/>
            <p14:sldId id="283"/>
          </p14:sldIdLst>
        </p14:section>
        <p14:section name="Inndeling uten navn" id="{A4000C58-46B2-4BE9-92A8-95F6A22CA05A}">
          <p14:sldIdLst>
            <p14:sldId id="276"/>
            <p14:sldId id="284"/>
            <p14:sldId id="3288"/>
            <p14:sldId id="3290"/>
            <p14:sldId id="3296"/>
            <p14:sldId id="3297"/>
            <p14:sldId id="430"/>
            <p14:sldId id="440"/>
            <p14:sldId id="428"/>
            <p14:sldId id="432"/>
            <p14:sldId id="445"/>
            <p14:sldId id="451"/>
            <p14:sldId id="454"/>
            <p14:sldId id="452"/>
            <p14:sldId id="3298"/>
            <p14:sldId id="272"/>
            <p14:sldId id="3299"/>
            <p14:sldId id="280"/>
            <p14:sldId id="26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5" autoAdjust="0"/>
    <p:restoredTop sz="94660"/>
  </p:normalViewPr>
  <p:slideViewPr>
    <p:cSldViewPr snapToGrid="0">
      <p:cViewPr>
        <p:scale>
          <a:sx n="66" d="100"/>
          <a:sy n="66" d="100"/>
        </p:scale>
        <p:origin x="54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presProps" Target="presProps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H1-verdi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 w="9525" cap="flat" cmpd="sng" algn="ctr">
              <a:noFill/>
              <a:round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  <a:ln w="9525" cap="flat" cmpd="sng" algn="ctr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0972-400B-BCEC-901040C37EC7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 w="9525" cap="flat" cmpd="sng" algn="ctr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83A3-43EC-A173-17112DBCBB58}"/>
              </c:ext>
            </c:extLst>
          </c:dPt>
          <c:cat>
            <c:numRef>
              <c:f>'Ark1'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'Ark1'!$B$2:$B$5</c:f>
              <c:numCache>
                <c:formatCode>General</c:formatCode>
                <c:ptCount val="4"/>
                <c:pt idx="0">
                  <c:v>1.2</c:v>
                </c:pt>
                <c:pt idx="1">
                  <c:v>1.8</c:v>
                </c:pt>
                <c:pt idx="2">
                  <c:v>1.1000000000000001</c:v>
                </c:pt>
                <c:pt idx="3">
                  <c:v>1.1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3A3-43EC-A173-17112DBCBB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1008187008"/>
        <c:axId val="1008191584"/>
      </c:barChart>
      <c:catAx>
        <c:axId val="100818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Myriad Pro Light" panose="020B0403030403020204" pitchFamily="34" charset="0"/>
                <a:ea typeface="+mn-ea"/>
                <a:cs typeface="+mn-cs"/>
              </a:defRPr>
            </a:pPr>
            <a:endParaRPr lang="nb-NO"/>
          </a:p>
        </c:txPr>
        <c:crossAx val="1008191584"/>
        <c:crosses val="autoZero"/>
        <c:auto val="1"/>
        <c:lblAlgn val="ctr"/>
        <c:lblOffset val="100"/>
        <c:noMultiLvlLbl val="0"/>
      </c:catAx>
      <c:valAx>
        <c:axId val="1008191584"/>
        <c:scaling>
          <c:orientation val="minMax"/>
          <c:max val="2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Myriad Pro Light" panose="020B0403030403020204" pitchFamily="34" charset="0"/>
                <a:ea typeface="+mn-ea"/>
                <a:cs typeface="+mn-cs"/>
              </a:defRPr>
            </a:pPr>
            <a:endParaRPr lang="nb-NO"/>
          </a:p>
        </c:txPr>
        <c:crossAx val="1008187008"/>
        <c:crosses val="autoZero"/>
        <c:crossBetween val="between"/>
        <c:majorUnit val="0.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AF Gruppen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Ark1'!$A$2:$A$3655</c:f>
              <c:numCache>
                <c:formatCode>m/d/yyyy</c:formatCode>
                <c:ptCount val="3654"/>
                <c:pt idx="0">
                  <c:v>40816</c:v>
                </c:pt>
                <c:pt idx="1">
                  <c:v>40817</c:v>
                </c:pt>
                <c:pt idx="2">
                  <c:v>40818</c:v>
                </c:pt>
                <c:pt idx="3">
                  <c:v>40819</c:v>
                </c:pt>
                <c:pt idx="4">
                  <c:v>40820</c:v>
                </c:pt>
                <c:pt idx="5">
                  <c:v>40821</c:v>
                </c:pt>
                <c:pt idx="6">
                  <c:v>40822</c:v>
                </c:pt>
                <c:pt idx="7">
                  <c:v>40823</c:v>
                </c:pt>
                <c:pt idx="8">
                  <c:v>40824</c:v>
                </c:pt>
                <c:pt idx="9">
                  <c:v>40825</c:v>
                </c:pt>
                <c:pt idx="10">
                  <c:v>40826</c:v>
                </c:pt>
                <c:pt idx="11">
                  <c:v>40827</c:v>
                </c:pt>
                <c:pt idx="12">
                  <c:v>40828</c:v>
                </c:pt>
                <c:pt idx="13">
                  <c:v>40829</c:v>
                </c:pt>
                <c:pt idx="14">
                  <c:v>40830</c:v>
                </c:pt>
                <c:pt idx="15">
                  <c:v>40831</c:v>
                </c:pt>
                <c:pt idx="16">
                  <c:v>40832</c:v>
                </c:pt>
                <c:pt idx="17">
                  <c:v>40833</c:v>
                </c:pt>
                <c:pt idx="18">
                  <c:v>40834</c:v>
                </c:pt>
                <c:pt idx="19">
                  <c:v>40835</c:v>
                </c:pt>
                <c:pt idx="20">
                  <c:v>40836</c:v>
                </c:pt>
                <c:pt idx="21">
                  <c:v>40837</c:v>
                </c:pt>
                <c:pt idx="22">
                  <c:v>40838</c:v>
                </c:pt>
                <c:pt idx="23">
                  <c:v>40839</c:v>
                </c:pt>
                <c:pt idx="24">
                  <c:v>40840</c:v>
                </c:pt>
                <c:pt idx="25">
                  <c:v>40841</c:v>
                </c:pt>
                <c:pt idx="26">
                  <c:v>40842</c:v>
                </c:pt>
                <c:pt idx="27">
                  <c:v>40843</c:v>
                </c:pt>
                <c:pt idx="28">
                  <c:v>40844</c:v>
                </c:pt>
                <c:pt idx="29">
                  <c:v>40845</c:v>
                </c:pt>
                <c:pt idx="30">
                  <c:v>40846</c:v>
                </c:pt>
                <c:pt idx="31">
                  <c:v>40847</c:v>
                </c:pt>
                <c:pt idx="32">
                  <c:v>40848</c:v>
                </c:pt>
                <c:pt idx="33">
                  <c:v>40849</c:v>
                </c:pt>
                <c:pt idx="34">
                  <c:v>40850</c:v>
                </c:pt>
                <c:pt idx="35">
                  <c:v>40851</c:v>
                </c:pt>
                <c:pt idx="36">
                  <c:v>40852</c:v>
                </c:pt>
                <c:pt idx="37">
                  <c:v>40853</c:v>
                </c:pt>
                <c:pt idx="38">
                  <c:v>40854</c:v>
                </c:pt>
                <c:pt idx="39">
                  <c:v>40855</c:v>
                </c:pt>
                <c:pt idx="40">
                  <c:v>40856</c:v>
                </c:pt>
                <c:pt idx="41">
                  <c:v>40857</c:v>
                </c:pt>
                <c:pt idx="42">
                  <c:v>40858</c:v>
                </c:pt>
                <c:pt idx="43">
                  <c:v>40859</c:v>
                </c:pt>
                <c:pt idx="44">
                  <c:v>40860</c:v>
                </c:pt>
                <c:pt idx="45">
                  <c:v>40861</c:v>
                </c:pt>
                <c:pt idx="46">
                  <c:v>40862</c:v>
                </c:pt>
                <c:pt idx="47">
                  <c:v>40863</c:v>
                </c:pt>
                <c:pt idx="48">
                  <c:v>40864</c:v>
                </c:pt>
                <c:pt idx="49">
                  <c:v>40865</c:v>
                </c:pt>
                <c:pt idx="50">
                  <c:v>40866</c:v>
                </c:pt>
                <c:pt idx="51">
                  <c:v>40867</c:v>
                </c:pt>
                <c:pt idx="52">
                  <c:v>40868</c:v>
                </c:pt>
                <c:pt idx="53">
                  <c:v>40869</c:v>
                </c:pt>
                <c:pt idx="54">
                  <c:v>40870</c:v>
                </c:pt>
                <c:pt idx="55">
                  <c:v>40871</c:v>
                </c:pt>
                <c:pt idx="56">
                  <c:v>40872</c:v>
                </c:pt>
                <c:pt idx="57">
                  <c:v>40873</c:v>
                </c:pt>
                <c:pt idx="58">
                  <c:v>40874</c:v>
                </c:pt>
                <c:pt idx="59">
                  <c:v>40875</c:v>
                </c:pt>
                <c:pt idx="60">
                  <c:v>40876</c:v>
                </c:pt>
                <c:pt idx="61">
                  <c:v>40877</c:v>
                </c:pt>
                <c:pt idx="62">
                  <c:v>40878</c:v>
                </c:pt>
                <c:pt idx="63">
                  <c:v>40879</c:v>
                </c:pt>
                <c:pt idx="64">
                  <c:v>40880</c:v>
                </c:pt>
                <c:pt idx="65">
                  <c:v>40881</c:v>
                </c:pt>
                <c:pt idx="66">
                  <c:v>40882</c:v>
                </c:pt>
                <c:pt idx="67">
                  <c:v>40883</c:v>
                </c:pt>
                <c:pt idx="68">
                  <c:v>40884</c:v>
                </c:pt>
                <c:pt idx="69">
                  <c:v>40885</c:v>
                </c:pt>
                <c:pt idx="70">
                  <c:v>40886</c:v>
                </c:pt>
                <c:pt idx="71">
                  <c:v>40887</c:v>
                </c:pt>
                <c:pt idx="72">
                  <c:v>40888</c:v>
                </c:pt>
                <c:pt idx="73">
                  <c:v>40889</c:v>
                </c:pt>
                <c:pt idx="74">
                  <c:v>40890</c:v>
                </c:pt>
                <c:pt idx="75">
                  <c:v>40891</c:v>
                </c:pt>
                <c:pt idx="76">
                  <c:v>40892</c:v>
                </c:pt>
                <c:pt idx="77">
                  <c:v>40893</c:v>
                </c:pt>
                <c:pt idx="78">
                  <c:v>40894</c:v>
                </c:pt>
                <c:pt idx="79">
                  <c:v>40895</c:v>
                </c:pt>
                <c:pt idx="80">
                  <c:v>40896</c:v>
                </c:pt>
                <c:pt idx="81">
                  <c:v>40897</c:v>
                </c:pt>
                <c:pt idx="82">
                  <c:v>40898</c:v>
                </c:pt>
                <c:pt idx="83">
                  <c:v>40899</c:v>
                </c:pt>
                <c:pt idx="84">
                  <c:v>40900</c:v>
                </c:pt>
                <c:pt idx="85">
                  <c:v>40901</c:v>
                </c:pt>
                <c:pt idx="86">
                  <c:v>40902</c:v>
                </c:pt>
                <c:pt idx="87">
                  <c:v>40903</c:v>
                </c:pt>
                <c:pt idx="88">
                  <c:v>40904</c:v>
                </c:pt>
                <c:pt idx="89">
                  <c:v>40905</c:v>
                </c:pt>
                <c:pt idx="90">
                  <c:v>40906</c:v>
                </c:pt>
                <c:pt idx="91">
                  <c:v>40907</c:v>
                </c:pt>
                <c:pt idx="92">
                  <c:v>40908</c:v>
                </c:pt>
                <c:pt idx="93">
                  <c:v>40909</c:v>
                </c:pt>
                <c:pt idx="94">
                  <c:v>40910</c:v>
                </c:pt>
                <c:pt idx="95">
                  <c:v>40911</c:v>
                </c:pt>
                <c:pt idx="96">
                  <c:v>40912</c:v>
                </c:pt>
                <c:pt idx="97">
                  <c:v>40913</c:v>
                </c:pt>
                <c:pt idx="98">
                  <c:v>40914</c:v>
                </c:pt>
                <c:pt idx="99">
                  <c:v>40915</c:v>
                </c:pt>
                <c:pt idx="100">
                  <c:v>40916</c:v>
                </c:pt>
                <c:pt idx="101">
                  <c:v>40917</c:v>
                </c:pt>
                <c:pt idx="102">
                  <c:v>40918</c:v>
                </c:pt>
                <c:pt idx="103">
                  <c:v>40919</c:v>
                </c:pt>
                <c:pt idx="104">
                  <c:v>40920</c:v>
                </c:pt>
                <c:pt idx="105">
                  <c:v>40921</c:v>
                </c:pt>
                <c:pt idx="106">
                  <c:v>40922</c:v>
                </c:pt>
                <c:pt idx="107">
                  <c:v>40923</c:v>
                </c:pt>
                <c:pt idx="108">
                  <c:v>40924</c:v>
                </c:pt>
                <c:pt idx="109">
                  <c:v>40925</c:v>
                </c:pt>
                <c:pt idx="110">
                  <c:v>40926</c:v>
                </c:pt>
                <c:pt idx="111">
                  <c:v>40927</c:v>
                </c:pt>
                <c:pt idx="112">
                  <c:v>40928</c:v>
                </c:pt>
                <c:pt idx="113">
                  <c:v>40929</c:v>
                </c:pt>
                <c:pt idx="114">
                  <c:v>40930</c:v>
                </c:pt>
                <c:pt idx="115">
                  <c:v>40931</c:v>
                </c:pt>
                <c:pt idx="116">
                  <c:v>40932</c:v>
                </c:pt>
                <c:pt idx="117">
                  <c:v>40933</c:v>
                </c:pt>
                <c:pt idx="118">
                  <c:v>40934</c:v>
                </c:pt>
                <c:pt idx="119">
                  <c:v>40935</c:v>
                </c:pt>
                <c:pt idx="120">
                  <c:v>40936</c:v>
                </c:pt>
                <c:pt idx="121">
                  <c:v>40937</c:v>
                </c:pt>
                <c:pt idx="122">
                  <c:v>40938</c:v>
                </c:pt>
                <c:pt idx="123">
                  <c:v>40939</c:v>
                </c:pt>
                <c:pt idx="124">
                  <c:v>40940</c:v>
                </c:pt>
                <c:pt idx="125">
                  <c:v>40941</c:v>
                </c:pt>
                <c:pt idx="126">
                  <c:v>40942</c:v>
                </c:pt>
                <c:pt idx="127">
                  <c:v>40943</c:v>
                </c:pt>
                <c:pt idx="128">
                  <c:v>40944</c:v>
                </c:pt>
                <c:pt idx="129">
                  <c:v>40945</c:v>
                </c:pt>
                <c:pt idx="130">
                  <c:v>40946</c:v>
                </c:pt>
                <c:pt idx="131">
                  <c:v>40947</c:v>
                </c:pt>
                <c:pt idx="132">
                  <c:v>40948</c:v>
                </c:pt>
                <c:pt idx="133">
                  <c:v>40949</c:v>
                </c:pt>
                <c:pt idx="134">
                  <c:v>40950</c:v>
                </c:pt>
                <c:pt idx="135">
                  <c:v>40951</c:v>
                </c:pt>
                <c:pt idx="136">
                  <c:v>40952</c:v>
                </c:pt>
                <c:pt idx="137">
                  <c:v>40953</c:v>
                </c:pt>
                <c:pt idx="138">
                  <c:v>40954</c:v>
                </c:pt>
                <c:pt idx="139">
                  <c:v>40955</c:v>
                </c:pt>
                <c:pt idx="140">
                  <c:v>40956</c:v>
                </c:pt>
                <c:pt idx="141">
                  <c:v>40957</c:v>
                </c:pt>
                <c:pt idx="142">
                  <c:v>40958</c:v>
                </c:pt>
                <c:pt idx="143">
                  <c:v>40959</c:v>
                </c:pt>
                <c:pt idx="144">
                  <c:v>40960</c:v>
                </c:pt>
                <c:pt idx="145">
                  <c:v>40961</c:v>
                </c:pt>
                <c:pt idx="146">
                  <c:v>40962</c:v>
                </c:pt>
                <c:pt idx="147">
                  <c:v>40963</c:v>
                </c:pt>
                <c:pt idx="148">
                  <c:v>40964</c:v>
                </c:pt>
                <c:pt idx="149">
                  <c:v>40965</c:v>
                </c:pt>
                <c:pt idx="150">
                  <c:v>40966</c:v>
                </c:pt>
                <c:pt idx="151">
                  <c:v>40967</c:v>
                </c:pt>
                <c:pt idx="152">
                  <c:v>40968</c:v>
                </c:pt>
                <c:pt idx="153">
                  <c:v>40969</c:v>
                </c:pt>
                <c:pt idx="154">
                  <c:v>40970</c:v>
                </c:pt>
                <c:pt idx="155">
                  <c:v>40971</c:v>
                </c:pt>
                <c:pt idx="156">
                  <c:v>40972</c:v>
                </c:pt>
                <c:pt idx="157">
                  <c:v>40973</c:v>
                </c:pt>
                <c:pt idx="158">
                  <c:v>40974</c:v>
                </c:pt>
                <c:pt idx="159">
                  <c:v>40975</c:v>
                </c:pt>
                <c:pt idx="160">
                  <c:v>40976</c:v>
                </c:pt>
                <c:pt idx="161">
                  <c:v>40977</c:v>
                </c:pt>
                <c:pt idx="162">
                  <c:v>40978</c:v>
                </c:pt>
                <c:pt idx="163">
                  <c:v>40979</c:v>
                </c:pt>
                <c:pt idx="164">
                  <c:v>40980</c:v>
                </c:pt>
                <c:pt idx="165">
                  <c:v>40981</c:v>
                </c:pt>
                <c:pt idx="166">
                  <c:v>40982</c:v>
                </c:pt>
                <c:pt idx="167">
                  <c:v>40983</c:v>
                </c:pt>
                <c:pt idx="168">
                  <c:v>40984</c:v>
                </c:pt>
                <c:pt idx="169">
                  <c:v>40985</c:v>
                </c:pt>
                <c:pt idx="170">
                  <c:v>40986</c:v>
                </c:pt>
                <c:pt idx="171">
                  <c:v>40987</c:v>
                </c:pt>
                <c:pt idx="172">
                  <c:v>40988</c:v>
                </c:pt>
                <c:pt idx="173">
                  <c:v>40989</c:v>
                </c:pt>
                <c:pt idx="174">
                  <c:v>40990</c:v>
                </c:pt>
                <c:pt idx="175">
                  <c:v>40991</c:v>
                </c:pt>
                <c:pt idx="176">
                  <c:v>40992</c:v>
                </c:pt>
                <c:pt idx="177">
                  <c:v>40993</c:v>
                </c:pt>
                <c:pt idx="178">
                  <c:v>40994</c:v>
                </c:pt>
                <c:pt idx="179">
                  <c:v>40995</c:v>
                </c:pt>
                <c:pt idx="180">
                  <c:v>40996</c:v>
                </c:pt>
                <c:pt idx="181">
                  <c:v>40997</c:v>
                </c:pt>
                <c:pt idx="182">
                  <c:v>40998</c:v>
                </c:pt>
                <c:pt idx="183">
                  <c:v>40999</c:v>
                </c:pt>
                <c:pt idx="184">
                  <c:v>41000</c:v>
                </c:pt>
                <c:pt idx="185">
                  <c:v>41001</c:v>
                </c:pt>
                <c:pt idx="186">
                  <c:v>41002</c:v>
                </c:pt>
                <c:pt idx="187">
                  <c:v>41003</c:v>
                </c:pt>
                <c:pt idx="188">
                  <c:v>41004</c:v>
                </c:pt>
                <c:pt idx="189">
                  <c:v>41005</c:v>
                </c:pt>
                <c:pt idx="190">
                  <c:v>41006</c:v>
                </c:pt>
                <c:pt idx="191">
                  <c:v>41007</c:v>
                </c:pt>
                <c:pt idx="192">
                  <c:v>41008</c:v>
                </c:pt>
                <c:pt idx="193">
                  <c:v>41009</c:v>
                </c:pt>
                <c:pt idx="194">
                  <c:v>41010</c:v>
                </c:pt>
                <c:pt idx="195">
                  <c:v>41011</c:v>
                </c:pt>
                <c:pt idx="196">
                  <c:v>41012</c:v>
                </c:pt>
                <c:pt idx="197">
                  <c:v>41013</c:v>
                </c:pt>
                <c:pt idx="198">
                  <c:v>41014</c:v>
                </c:pt>
                <c:pt idx="199">
                  <c:v>41015</c:v>
                </c:pt>
                <c:pt idx="200">
                  <c:v>41016</c:v>
                </c:pt>
                <c:pt idx="201">
                  <c:v>41017</c:v>
                </c:pt>
                <c:pt idx="202">
                  <c:v>41018</c:v>
                </c:pt>
                <c:pt idx="203">
                  <c:v>41019</c:v>
                </c:pt>
                <c:pt idx="204">
                  <c:v>41020</c:v>
                </c:pt>
                <c:pt idx="205">
                  <c:v>41021</c:v>
                </c:pt>
                <c:pt idx="206">
                  <c:v>41022</c:v>
                </c:pt>
                <c:pt idx="207">
                  <c:v>41023</c:v>
                </c:pt>
                <c:pt idx="208">
                  <c:v>41024</c:v>
                </c:pt>
                <c:pt idx="209">
                  <c:v>41025</c:v>
                </c:pt>
                <c:pt idx="210">
                  <c:v>41026</c:v>
                </c:pt>
                <c:pt idx="211">
                  <c:v>41027</c:v>
                </c:pt>
                <c:pt idx="212">
                  <c:v>41028</c:v>
                </c:pt>
                <c:pt idx="213">
                  <c:v>41029</c:v>
                </c:pt>
                <c:pt idx="214">
                  <c:v>41030</c:v>
                </c:pt>
                <c:pt idx="215">
                  <c:v>41031</c:v>
                </c:pt>
                <c:pt idx="216">
                  <c:v>41032</c:v>
                </c:pt>
                <c:pt idx="217">
                  <c:v>41033</c:v>
                </c:pt>
                <c:pt idx="218">
                  <c:v>41034</c:v>
                </c:pt>
                <c:pt idx="219">
                  <c:v>41035</c:v>
                </c:pt>
                <c:pt idx="220">
                  <c:v>41036</c:v>
                </c:pt>
                <c:pt idx="221">
                  <c:v>41037</c:v>
                </c:pt>
                <c:pt idx="222">
                  <c:v>41038</c:v>
                </c:pt>
                <c:pt idx="223">
                  <c:v>41039</c:v>
                </c:pt>
                <c:pt idx="224">
                  <c:v>41040</c:v>
                </c:pt>
                <c:pt idx="225">
                  <c:v>41041</c:v>
                </c:pt>
                <c:pt idx="226">
                  <c:v>41042</c:v>
                </c:pt>
                <c:pt idx="227">
                  <c:v>41043</c:v>
                </c:pt>
                <c:pt idx="228">
                  <c:v>41044</c:v>
                </c:pt>
                <c:pt idx="229">
                  <c:v>41045</c:v>
                </c:pt>
                <c:pt idx="230">
                  <c:v>41046</c:v>
                </c:pt>
                <c:pt idx="231">
                  <c:v>41047</c:v>
                </c:pt>
                <c:pt idx="232">
                  <c:v>41048</c:v>
                </c:pt>
                <c:pt idx="233">
                  <c:v>41049</c:v>
                </c:pt>
                <c:pt idx="234">
                  <c:v>41050</c:v>
                </c:pt>
                <c:pt idx="235">
                  <c:v>41051</c:v>
                </c:pt>
                <c:pt idx="236">
                  <c:v>41052</c:v>
                </c:pt>
                <c:pt idx="237">
                  <c:v>41053</c:v>
                </c:pt>
                <c:pt idx="238">
                  <c:v>41054</c:v>
                </c:pt>
                <c:pt idx="239">
                  <c:v>41055</c:v>
                </c:pt>
                <c:pt idx="240">
                  <c:v>41056</c:v>
                </c:pt>
                <c:pt idx="241">
                  <c:v>41057</c:v>
                </c:pt>
                <c:pt idx="242">
                  <c:v>41058</c:v>
                </c:pt>
                <c:pt idx="243">
                  <c:v>41059</c:v>
                </c:pt>
                <c:pt idx="244">
                  <c:v>41060</c:v>
                </c:pt>
                <c:pt idx="245">
                  <c:v>41061</c:v>
                </c:pt>
                <c:pt idx="246">
                  <c:v>41062</c:v>
                </c:pt>
                <c:pt idx="247">
                  <c:v>41063</c:v>
                </c:pt>
                <c:pt idx="248">
                  <c:v>41064</c:v>
                </c:pt>
                <c:pt idx="249">
                  <c:v>41065</c:v>
                </c:pt>
                <c:pt idx="250">
                  <c:v>41066</c:v>
                </c:pt>
                <c:pt idx="251">
                  <c:v>41067</c:v>
                </c:pt>
                <c:pt idx="252">
                  <c:v>41068</c:v>
                </c:pt>
                <c:pt idx="253">
                  <c:v>41069</c:v>
                </c:pt>
                <c:pt idx="254">
                  <c:v>41070</c:v>
                </c:pt>
                <c:pt idx="255">
                  <c:v>41071</c:v>
                </c:pt>
                <c:pt idx="256">
                  <c:v>41072</c:v>
                </c:pt>
                <c:pt idx="257">
                  <c:v>41073</c:v>
                </c:pt>
                <c:pt idx="258">
                  <c:v>41074</c:v>
                </c:pt>
                <c:pt idx="259">
                  <c:v>41075</c:v>
                </c:pt>
                <c:pt idx="260">
                  <c:v>41076</c:v>
                </c:pt>
                <c:pt idx="261">
                  <c:v>41077</c:v>
                </c:pt>
                <c:pt idx="262">
                  <c:v>41078</c:v>
                </c:pt>
                <c:pt idx="263">
                  <c:v>41079</c:v>
                </c:pt>
                <c:pt idx="264">
                  <c:v>41080</c:v>
                </c:pt>
                <c:pt idx="265">
                  <c:v>41081</c:v>
                </c:pt>
                <c:pt idx="266">
                  <c:v>41082</c:v>
                </c:pt>
                <c:pt idx="267">
                  <c:v>41083</c:v>
                </c:pt>
                <c:pt idx="268">
                  <c:v>41084</c:v>
                </c:pt>
                <c:pt idx="269">
                  <c:v>41085</c:v>
                </c:pt>
                <c:pt idx="270">
                  <c:v>41086</c:v>
                </c:pt>
                <c:pt idx="271">
                  <c:v>41087</c:v>
                </c:pt>
                <c:pt idx="272">
                  <c:v>41088</c:v>
                </c:pt>
                <c:pt idx="273">
                  <c:v>41089</c:v>
                </c:pt>
                <c:pt idx="274">
                  <c:v>41090</c:v>
                </c:pt>
                <c:pt idx="275">
                  <c:v>41091</c:v>
                </c:pt>
                <c:pt idx="276">
                  <c:v>41092</c:v>
                </c:pt>
                <c:pt idx="277">
                  <c:v>41093</c:v>
                </c:pt>
                <c:pt idx="278">
                  <c:v>41094</c:v>
                </c:pt>
                <c:pt idx="279">
                  <c:v>41095</c:v>
                </c:pt>
                <c:pt idx="280">
                  <c:v>41096</c:v>
                </c:pt>
                <c:pt idx="281">
                  <c:v>41097</c:v>
                </c:pt>
                <c:pt idx="282">
                  <c:v>41098</c:v>
                </c:pt>
                <c:pt idx="283">
                  <c:v>41099</c:v>
                </c:pt>
                <c:pt idx="284">
                  <c:v>41100</c:v>
                </c:pt>
                <c:pt idx="285">
                  <c:v>41101</c:v>
                </c:pt>
                <c:pt idx="286">
                  <c:v>41102</c:v>
                </c:pt>
                <c:pt idx="287">
                  <c:v>41103</c:v>
                </c:pt>
                <c:pt idx="288">
                  <c:v>41104</c:v>
                </c:pt>
                <c:pt idx="289">
                  <c:v>41105</c:v>
                </c:pt>
                <c:pt idx="290">
                  <c:v>41106</c:v>
                </c:pt>
                <c:pt idx="291">
                  <c:v>41107</c:v>
                </c:pt>
                <c:pt idx="292">
                  <c:v>41108</c:v>
                </c:pt>
                <c:pt idx="293">
                  <c:v>41109</c:v>
                </c:pt>
                <c:pt idx="294">
                  <c:v>41110</c:v>
                </c:pt>
                <c:pt idx="295">
                  <c:v>41111</c:v>
                </c:pt>
                <c:pt idx="296">
                  <c:v>41112</c:v>
                </c:pt>
                <c:pt idx="297">
                  <c:v>41113</c:v>
                </c:pt>
                <c:pt idx="298">
                  <c:v>41114</c:v>
                </c:pt>
                <c:pt idx="299">
                  <c:v>41115</c:v>
                </c:pt>
                <c:pt idx="300">
                  <c:v>41116</c:v>
                </c:pt>
                <c:pt idx="301">
                  <c:v>41117</c:v>
                </c:pt>
                <c:pt idx="302">
                  <c:v>41118</c:v>
                </c:pt>
                <c:pt idx="303">
                  <c:v>41119</c:v>
                </c:pt>
                <c:pt idx="304">
                  <c:v>41120</c:v>
                </c:pt>
                <c:pt idx="305">
                  <c:v>41121</c:v>
                </c:pt>
                <c:pt idx="306">
                  <c:v>41122</c:v>
                </c:pt>
                <c:pt idx="307">
                  <c:v>41123</c:v>
                </c:pt>
                <c:pt idx="308">
                  <c:v>41124</c:v>
                </c:pt>
                <c:pt idx="309">
                  <c:v>41125</c:v>
                </c:pt>
                <c:pt idx="310">
                  <c:v>41126</c:v>
                </c:pt>
                <c:pt idx="311">
                  <c:v>41127</c:v>
                </c:pt>
                <c:pt idx="312">
                  <c:v>41128</c:v>
                </c:pt>
                <c:pt idx="313">
                  <c:v>41129</c:v>
                </c:pt>
                <c:pt idx="314">
                  <c:v>41130</c:v>
                </c:pt>
                <c:pt idx="315">
                  <c:v>41131</c:v>
                </c:pt>
                <c:pt idx="316">
                  <c:v>41132</c:v>
                </c:pt>
                <c:pt idx="317">
                  <c:v>41133</c:v>
                </c:pt>
                <c:pt idx="318">
                  <c:v>41134</c:v>
                </c:pt>
                <c:pt idx="319">
                  <c:v>41135</c:v>
                </c:pt>
                <c:pt idx="320">
                  <c:v>41136</c:v>
                </c:pt>
                <c:pt idx="321">
                  <c:v>41137</c:v>
                </c:pt>
                <c:pt idx="322">
                  <c:v>41138</c:v>
                </c:pt>
                <c:pt idx="323">
                  <c:v>41139</c:v>
                </c:pt>
                <c:pt idx="324">
                  <c:v>41140</c:v>
                </c:pt>
                <c:pt idx="325">
                  <c:v>41141</c:v>
                </c:pt>
                <c:pt idx="326">
                  <c:v>41142</c:v>
                </c:pt>
                <c:pt idx="327">
                  <c:v>41143</c:v>
                </c:pt>
                <c:pt idx="328">
                  <c:v>41144</c:v>
                </c:pt>
                <c:pt idx="329">
                  <c:v>41145</c:v>
                </c:pt>
                <c:pt idx="330">
                  <c:v>41146</c:v>
                </c:pt>
                <c:pt idx="331">
                  <c:v>41147</c:v>
                </c:pt>
                <c:pt idx="332">
                  <c:v>41148</c:v>
                </c:pt>
                <c:pt idx="333">
                  <c:v>41149</c:v>
                </c:pt>
                <c:pt idx="334">
                  <c:v>41150</c:v>
                </c:pt>
                <c:pt idx="335">
                  <c:v>41151</c:v>
                </c:pt>
                <c:pt idx="336">
                  <c:v>41152</c:v>
                </c:pt>
                <c:pt idx="337">
                  <c:v>41153</c:v>
                </c:pt>
                <c:pt idx="338">
                  <c:v>41154</c:v>
                </c:pt>
                <c:pt idx="339">
                  <c:v>41155</c:v>
                </c:pt>
                <c:pt idx="340">
                  <c:v>41156</c:v>
                </c:pt>
                <c:pt idx="341">
                  <c:v>41157</c:v>
                </c:pt>
                <c:pt idx="342">
                  <c:v>41158</c:v>
                </c:pt>
                <c:pt idx="343">
                  <c:v>41159</c:v>
                </c:pt>
                <c:pt idx="344">
                  <c:v>41160</c:v>
                </c:pt>
                <c:pt idx="345">
                  <c:v>41161</c:v>
                </c:pt>
                <c:pt idx="346">
                  <c:v>41162</c:v>
                </c:pt>
                <c:pt idx="347">
                  <c:v>41163</c:v>
                </c:pt>
                <c:pt idx="348">
                  <c:v>41164</c:v>
                </c:pt>
                <c:pt idx="349">
                  <c:v>41165</c:v>
                </c:pt>
                <c:pt idx="350">
                  <c:v>41166</c:v>
                </c:pt>
                <c:pt idx="351">
                  <c:v>41167</c:v>
                </c:pt>
                <c:pt idx="352">
                  <c:v>41168</c:v>
                </c:pt>
                <c:pt idx="353">
                  <c:v>41169</c:v>
                </c:pt>
                <c:pt idx="354">
                  <c:v>41170</c:v>
                </c:pt>
                <c:pt idx="355">
                  <c:v>41171</c:v>
                </c:pt>
                <c:pt idx="356">
                  <c:v>41172</c:v>
                </c:pt>
                <c:pt idx="357">
                  <c:v>41173</c:v>
                </c:pt>
                <c:pt idx="358">
                  <c:v>41174</c:v>
                </c:pt>
                <c:pt idx="359">
                  <c:v>41175</c:v>
                </c:pt>
                <c:pt idx="360">
                  <c:v>41176</c:v>
                </c:pt>
                <c:pt idx="361">
                  <c:v>41177</c:v>
                </c:pt>
                <c:pt idx="362">
                  <c:v>41178</c:v>
                </c:pt>
                <c:pt idx="363">
                  <c:v>41179</c:v>
                </c:pt>
                <c:pt idx="364">
                  <c:v>41180</c:v>
                </c:pt>
                <c:pt idx="365">
                  <c:v>41181</c:v>
                </c:pt>
                <c:pt idx="366">
                  <c:v>41182</c:v>
                </c:pt>
                <c:pt idx="367">
                  <c:v>41183</c:v>
                </c:pt>
                <c:pt idx="368">
                  <c:v>41184</c:v>
                </c:pt>
                <c:pt idx="369">
                  <c:v>41185</c:v>
                </c:pt>
                <c:pt idx="370">
                  <c:v>41186</c:v>
                </c:pt>
                <c:pt idx="371">
                  <c:v>41187</c:v>
                </c:pt>
                <c:pt idx="372">
                  <c:v>41188</c:v>
                </c:pt>
                <c:pt idx="373">
                  <c:v>41189</c:v>
                </c:pt>
                <c:pt idx="374">
                  <c:v>41190</c:v>
                </c:pt>
                <c:pt idx="375">
                  <c:v>41191</c:v>
                </c:pt>
                <c:pt idx="376">
                  <c:v>41192</c:v>
                </c:pt>
                <c:pt idx="377">
                  <c:v>41193</c:v>
                </c:pt>
                <c:pt idx="378">
                  <c:v>41194</c:v>
                </c:pt>
                <c:pt idx="379">
                  <c:v>41195</c:v>
                </c:pt>
                <c:pt idx="380">
                  <c:v>41196</c:v>
                </c:pt>
                <c:pt idx="381">
                  <c:v>41197</c:v>
                </c:pt>
                <c:pt idx="382">
                  <c:v>41198</c:v>
                </c:pt>
                <c:pt idx="383">
                  <c:v>41199</c:v>
                </c:pt>
                <c:pt idx="384">
                  <c:v>41200</c:v>
                </c:pt>
                <c:pt idx="385">
                  <c:v>41201</c:v>
                </c:pt>
                <c:pt idx="386">
                  <c:v>41202</c:v>
                </c:pt>
                <c:pt idx="387">
                  <c:v>41203</c:v>
                </c:pt>
                <c:pt idx="388">
                  <c:v>41204</c:v>
                </c:pt>
                <c:pt idx="389">
                  <c:v>41205</c:v>
                </c:pt>
                <c:pt idx="390">
                  <c:v>41206</c:v>
                </c:pt>
                <c:pt idx="391">
                  <c:v>41207</c:v>
                </c:pt>
                <c:pt idx="392">
                  <c:v>41208</c:v>
                </c:pt>
                <c:pt idx="393">
                  <c:v>41209</c:v>
                </c:pt>
                <c:pt idx="394">
                  <c:v>41210</c:v>
                </c:pt>
                <c:pt idx="395">
                  <c:v>41211</c:v>
                </c:pt>
                <c:pt idx="396">
                  <c:v>41212</c:v>
                </c:pt>
                <c:pt idx="397">
                  <c:v>41213</c:v>
                </c:pt>
                <c:pt idx="398">
                  <c:v>41214</c:v>
                </c:pt>
                <c:pt idx="399">
                  <c:v>41215</c:v>
                </c:pt>
                <c:pt idx="400">
                  <c:v>41216</c:v>
                </c:pt>
                <c:pt idx="401">
                  <c:v>41217</c:v>
                </c:pt>
                <c:pt idx="402">
                  <c:v>41218</c:v>
                </c:pt>
                <c:pt idx="403">
                  <c:v>41219</c:v>
                </c:pt>
                <c:pt idx="404">
                  <c:v>41220</c:v>
                </c:pt>
                <c:pt idx="405">
                  <c:v>41221</c:v>
                </c:pt>
                <c:pt idx="406">
                  <c:v>41222</c:v>
                </c:pt>
                <c:pt idx="407">
                  <c:v>41223</c:v>
                </c:pt>
                <c:pt idx="408">
                  <c:v>41224</c:v>
                </c:pt>
                <c:pt idx="409">
                  <c:v>41225</c:v>
                </c:pt>
                <c:pt idx="410">
                  <c:v>41226</c:v>
                </c:pt>
                <c:pt idx="411">
                  <c:v>41227</c:v>
                </c:pt>
                <c:pt idx="412">
                  <c:v>41228</c:v>
                </c:pt>
                <c:pt idx="413">
                  <c:v>41229</c:v>
                </c:pt>
                <c:pt idx="414">
                  <c:v>41230</c:v>
                </c:pt>
                <c:pt idx="415">
                  <c:v>41231</c:v>
                </c:pt>
                <c:pt idx="416">
                  <c:v>41232</c:v>
                </c:pt>
                <c:pt idx="417">
                  <c:v>41233</c:v>
                </c:pt>
                <c:pt idx="418">
                  <c:v>41234</c:v>
                </c:pt>
                <c:pt idx="419">
                  <c:v>41235</c:v>
                </c:pt>
                <c:pt idx="420">
                  <c:v>41236</c:v>
                </c:pt>
                <c:pt idx="421">
                  <c:v>41237</c:v>
                </c:pt>
                <c:pt idx="422">
                  <c:v>41238</c:v>
                </c:pt>
                <c:pt idx="423">
                  <c:v>41239</c:v>
                </c:pt>
                <c:pt idx="424">
                  <c:v>41240</c:v>
                </c:pt>
                <c:pt idx="425">
                  <c:v>41241</c:v>
                </c:pt>
                <c:pt idx="426">
                  <c:v>41242</c:v>
                </c:pt>
                <c:pt idx="427">
                  <c:v>41243</c:v>
                </c:pt>
                <c:pt idx="428">
                  <c:v>41244</c:v>
                </c:pt>
                <c:pt idx="429">
                  <c:v>41245</c:v>
                </c:pt>
                <c:pt idx="430">
                  <c:v>41246</c:v>
                </c:pt>
                <c:pt idx="431">
                  <c:v>41247</c:v>
                </c:pt>
                <c:pt idx="432">
                  <c:v>41248</c:v>
                </c:pt>
                <c:pt idx="433">
                  <c:v>41249</c:v>
                </c:pt>
                <c:pt idx="434">
                  <c:v>41250</c:v>
                </c:pt>
                <c:pt idx="435">
                  <c:v>41251</c:v>
                </c:pt>
                <c:pt idx="436">
                  <c:v>41252</c:v>
                </c:pt>
                <c:pt idx="437">
                  <c:v>41253</c:v>
                </c:pt>
                <c:pt idx="438">
                  <c:v>41254</c:v>
                </c:pt>
                <c:pt idx="439">
                  <c:v>41255</c:v>
                </c:pt>
                <c:pt idx="440">
                  <c:v>41256</c:v>
                </c:pt>
                <c:pt idx="441">
                  <c:v>41257</c:v>
                </c:pt>
                <c:pt idx="442">
                  <c:v>41258</c:v>
                </c:pt>
                <c:pt idx="443">
                  <c:v>41259</c:v>
                </c:pt>
                <c:pt idx="444">
                  <c:v>41260</c:v>
                </c:pt>
                <c:pt idx="445">
                  <c:v>41261</c:v>
                </c:pt>
                <c:pt idx="446">
                  <c:v>41262</c:v>
                </c:pt>
                <c:pt idx="447">
                  <c:v>41263</c:v>
                </c:pt>
                <c:pt idx="448">
                  <c:v>41264</c:v>
                </c:pt>
                <c:pt idx="449">
                  <c:v>41265</c:v>
                </c:pt>
                <c:pt idx="450">
                  <c:v>41266</c:v>
                </c:pt>
                <c:pt idx="451">
                  <c:v>41267</c:v>
                </c:pt>
                <c:pt idx="452">
                  <c:v>41268</c:v>
                </c:pt>
                <c:pt idx="453">
                  <c:v>41269</c:v>
                </c:pt>
                <c:pt idx="454">
                  <c:v>41270</c:v>
                </c:pt>
                <c:pt idx="455">
                  <c:v>41271</c:v>
                </c:pt>
                <c:pt idx="456">
                  <c:v>41272</c:v>
                </c:pt>
                <c:pt idx="457">
                  <c:v>41273</c:v>
                </c:pt>
                <c:pt idx="458">
                  <c:v>41274</c:v>
                </c:pt>
                <c:pt idx="459">
                  <c:v>41275</c:v>
                </c:pt>
                <c:pt idx="460">
                  <c:v>41276</c:v>
                </c:pt>
                <c:pt idx="461">
                  <c:v>41277</c:v>
                </c:pt>
                <c:pt idx="462">
                  <c:v>41278</c:v>
                </c:pt>
                <c:pt idx="463">
                  <c:v>41279</c:v>
                </c:pt>
                <c:pt idx="464">
                  <c:v>41280</c:v>
                </c:pt>
                <c:pt idx="465">
                  <c:v>41281</c:v>
                </c:pt>
                <c:pt idx="466">
                  <c:v>41282</c:v>
                </c:pt>
                <c:pt idx="467">
                  <c:v>41283</c:v>
                </c:pt>
                <c:pt idx="468">
                  <c:v>41284</c:v>
                </c:pt>
                <c:pt idx="469">
                  <c:v>41285</c:v>
                </c:pt>
                <c:pt idx="470">
                  <c:v>41286</c:v>
                </c:pt>
                <c:pt idx="471">
                  <c:v>41287</c:v>
                </c:pt>
                <c:pt idx="472">
                  <c:v>41288</c:v>
                </c:pt>
                <c:pt idx="473">
                  <c:v>41289</c:v>
                </c:pt>
                <c:pt idx="474">
                  <c:v>41290</c:v>
                </c:pt>
                <c:pt idx="475">
                  <c:v>41291</c:v>
                </c:pt>
                <c:pt idx="476">
                  <c:v>41292</c:v>
                </c:pt>
                <c:pt idx="477">
                  <c:v>41293</c:v>
                </c:pt>
                <c:pt idx="478">
                  <c:v>41294</c:v>
                </c:pt>
                <c:pt idx="479">
                  <c:v>41295</c:v>
                </c:pt>
                <c:pt idx="480">
                  <c:v>41296</c:v>
                </c:pt>
                <c:pt idx="481">
                  <c:v>41297</c:v>
                </c:pt>
                <c:pt idx="482">
                  <c:v>41298</c:v>
                </c:pt>
                <c:pt idx="483">
                  <c:v>41299</c:v>
                </c:pt>
                <c:pt idx="484">
                  <c:v>41300</c:v>
                </c:pt>
                <c:pt idx="485">
                  <c:v>41301</c:v>
                </c:pt>
                <c:pt idx="486">
                  <c:v>41302</c:v>
                </c:pt>
                <c:pt idx="487">
                  <c:v>41303</c:v>
                </c:pt>
                <c:pt idx="488">
                  <c:v>41304</c:v>
                </c:pt>
                <c:pt idx="489">
                  <c:v>41305</c:v>
                </c:pt>
                <c:pt idx="490">
                  <c:v>41306</c:v>
                </c:pt>
                <c:pt idx="491">
                  <c:v>41307</c:v>
                </c:pt>
                <c:pt idx="492">
                  <c:v>41308</c:v>
                </c:pt>
                <c:pt idx="493">
                  <c:v>41309</c:v>
                </c:pt>
                <c:pt idx="494">
                  <c:v>41310</c:v>
                </c:pt>
                <c:pt idx="495">
                  <c:v>41311</c:v>
                </c:pt>
                <c:pt idx="496">
                  <c:v>41312</c:v>
                </c:pt>
                <c:pt idx="497">
                  <c:v>41313</c:v>
                </c:pt>
                <c:pt idx="498">
                  <c:v>41314</c:v>
                </c:pt>
                <c:pt idx="499">
                  <c:v>41315</c:v>
                </c:pt>
                <c:pt idx="500">
                  <c:v>41316</c:v>
                </c:pt>
                <c:pt idx="501">
                  <c:v>41317</c:v>
                </c:pt>
                <c:pt idx="502">
                  <c:v>41318</c:v>
                </c:pt>
                <c:pt idx="503">
                  <c:v>41319</c:v>
                </c:pt>
                <c:pt idx="504">
                  <c:v>41320</c:v>
                </c:pt>
                <c:pt idx="505">
                  <c:v>41321</c:v>
                </c:pt>
                <c:pt idx="506">
                  <c:v>41322</c:v>
                </c:pt>
                <c:pt idx="507">
                  <c:v>41323</c:v>
                </c:pt>
                <c:pt idx="508">
                  <c:v>41324</c:v>
                </c:pt>
                <c:pt idx="509">
                  <c:v>41325</c:v>
                </c:pt>
                <c:pt idx="510">
                  <c:v>41326</c:v>
                </c:pt>
                <c:pt idx="511">
                  <c:v>41327</c:v>
                </c:pt>
                <c:pt idx="512">
                  <c:v>41328</c:v>
                </c:pt>
                <c:pt idx="513">
                  <c:v>41329</c:v>
                </c:pt>
                <c:pt idx="514">
                  <c:v>41330</c:v>
                </c:pt>
                <c:pt idx="515">
                  <c:v>41331</c:v>
                </c:pt>
                <c:pt idx="516">
                  <c:v>41332</c:v>
                </c:pt>
                <c:pt idx="517">
                  <c:v>41333</c:v>
                </c:pt>
                <c:pt idx="518">
                  <c:v>41334</c:v>
                </c:pt>
                <c:pt idx="519">
                  <c:v>41335</c:v>
                </c:pt>
                <c:pt idx="520">
                  <c:v>41336</c:v>
                </c:pt>
                <c:pt idx="521">
                  <c:v>41337</c:v>
                </c:pt>
                <c:pt idx="522">
                  <c:v>41338</c:v>
                </c:pt>
                <c:pt idx="523">
                  <c:v>41339</c:v>
                </c:pt>
                <c:pt idx="524">
                  <c:v>41340</c:v>
                </c:pt>
                <c:pt idx="525">
                  <c:v>41341</c:v>
                </c:pt>
                <c:pt idx="526">
                  <c:v>41342</c:v>
                </c:pt>
                <c:pt idx="527">
                  <c:v>41343</c:v>
                </c:pt>
                <c:pt idx="528">
                  <c:v>41344</c:v>
                </c:pt>
                <c:pt idx="529">
                  <c:v>41345</c:v>
                </c:pt>
                <c:pt idx="530">
                  <c:v>41346</c:v>
                </c:pt>
                <c:pt idx="531">
                  <c:v>41347</c:v>
                </c:pt>
                <c:pt idx="532">
                  <c:v>41348</c:v>
                </c:pt>
                <c:pt idx="533">
                  <c:v>41349</c:v>
                </c:pt>
                <c:pt idx="534">
                  <c:v>41350</c:v>
                </c:pt>
                <c:pt idx="535">
                  <c:v>41351</c:v>
                </c:pt>
                <c:pt idx="536">
                  <c:v>41352</c:v>
                </c:pt>
                <c:pt idx="537">
                  <c:v>41353</c:v>
                </c:pt>
                <c:pt idx="538">
                  <c:v>41354</c:v>
                </c:pt>
                <c:pt idx="539">
                  <c:v>41355</c:v>
                </c:pt>
                <c:pt idx="540">
                  <c:v>41356</c:v>
                </c:pt>
                <c:pt idx="541">
                  <c:v>41357</c:v>
                </c:pt>
                <c:pt idx="542">
                  <c:v>41358</c:v>
                </c:pt>
                <c:pt idx="543">
                  <c:v>41359</c:v>
                </c:pt>
                <c:pt idx="544">
                  <c:v>41360</c:v>
                </c:pt>
                <c:pt idx="545">
                  <c:v>41361</c:v>
                </c:pt>
                <c:pt idx="546">
                  <c:v>41362</c:v>
                </c:pt>
                <c:pt idx="547">
                  <c:v>41363</c:v>
                </c:pt>
                <c:pt idx="548">
                  <c:v>41364</c:v>
                </c:pt>
                <c:pt idx="549">
                  <c:v>41365</c:v>
                </c:pt>
                <c:pt idx="550">
                  <c:v>41366</c:v>
                </c:pt>
                <c:pt idx="551">
                  <c:v>41367</c:v>
                </c:pt>
                <c:pt idx="552">
                  <c:v>41368</c:v>
                </c:pt>
                <c:pt idx="553">
                  <c:v>41369</c:v>
                </c:pt>
                <c:pt idx="554">
                  <c:v>41370</c:v>
                </c:pt>
                <c:pt idx="555">
                  <c:v>41371</c:v>
                </c:pt>
                <c:pt idx="556">
                  <c:v>41372</c:v>
                </c:pt>
                <c:pt idx="557">
                  <c:v>41373</c:v>
                </c:pt>
                <c:pt idx="558">
                  <c:v>41374</c:v>
                </c:pt>
                <c:pt idx="559">
                  <c:v>41375</c:v>
                </c:pt>
                <c:pt idx="560">
                  <c:v>41376</c:v>
                </c:pt>
                <c:pt idx="561">
                  <c:v>41377</c:v>
                </c:pt>
                <c:pt idx="562">
                  <c:v>41378</c:v>
                </c:pt>
                <c:pt idx="563">
                  <c:v>41379</c:v>
                </c:pt>
                <c:pt idx="564">
                  <c:v>41380</c:v>
                </c:pt>
                <c:pt idx="565">
                  <c:v>41381</c:v>
                </c:pt>
                <c:pt idx="566">
                  <c:v>41382</c:v>
                </c:pt>
                <c:pt idx="567">
                  <c:v>41383</c:v>
                </c:pt>
                <c:pt idx="568">
                  <c:v>41384</c:v>
                </c:pt>
                <c:pt idx="569">
                  <c:v>41385</c:v>
                </c:pt>
                <c:pt idx="570">
                  <c:v>41386</c:v>
                </c:pt>
                <c:pt idx="571">
                  <c:v>41387</c:v>
                </c:pt>
                <c:pt idx="572">
                  <c:v>41388</c:v>
                </c:pt>
                <c:pt idx="573">
                  <c:v>41389</c:v>
                </c:pt>
                <c:pt idx="574">
                  <c:v>41390</c:v>
                </c:pt>
                <c:pt idx="575">
                  <c:v>41391</c:v>
                </c:pt>
                <c:pt idx="576">
                  <c:v>41392</c:v>
                </c:pt>
                <c:pt idx="577">
                  <c:v>41393</c:v>
                </c:pt>
                <c:pt idx="578">
                  <c:v>41394</c:v>
                </c:pt>
                <c:pt idx="579">
                  <c:v>41395</c:v>
                </c:pt>
                <c:pt idx="580">
                  <c:v>41396</c:v>
                </c:pt>
                <c:pt idx="581">
                  <c:v>41397</c:v>
                </c:pt>
                <c:pt idx="582">
                  <c:v>41398</c:v>
                </c:pt>
                <c:pt idx="583">
                  <c:v>41399</c:v>
                </c:pt>
                <c:pt idx="584">
                  <c:v>41400</c:v>
                </c:pt>
                <c:pt idx="585">
                  <c:v>41401</c:v>
                </c:pt>
                <c:pt idx="586">
                  <c:v>41402</c:v>
                </c:pt>
                <c:pt idx="587">
                  <c:v>41403</c:v>
                </c:pt>
                <c:pt idx="588">
                  <c:v>41404</c:v>
                </c:pt>
                <c:pt idx="589">
                  <c:v>41405</c:v>
                </c:pt>
                <c:pt idx="590">
                  <c:v>41406</c:v>
                </c:pt>
                <c:pt idx="591">
                  <c:v>41407</c:v>
                </c:pt>
                <c:pt idx="592">
                  <c:v>41408</c:v>
                </c:pt>
                <c:pt idx="593">
                  <c:v>41409</c:v>
                </c:pt>
                <c:pt idx="594">
                  <c:v>41410</c:v>
                </c:pt>
                <c:pt idx="595">
                  <c:v>41411</c:v>
                </c:pt>
                <c:pt idx="596">
                  <c:v>41412</c:v>
                </c:pt>
                <c:pt idx="597">
                  <c:v>41413</c:v>
                </c:pt>
                <c:pt idx="598">
                  <c:v>41414</c:v>
                </c:pt>
                <c:pt idx="599">
                  <c:v>41415</c:v>
                </c:pt>
                <c:pt idx="600">
                  <c:v>41416</c:v>
                </c:pt>
                <c:pt idx="601">
                  <c:v>41417</c:v>
                </c:pt>
                <c:pt idx="602">
                  <c:v>41418</c:v>
                </c:pt>
                <c:pt idx="603">
                  <c:v>41419</c:v>
                </c:pt>
                <c:pt idx="604">
                  <c:v>41420</c:v>
                </c:pt>
                <c:pt idx="605">
                  <c:v>41421</c:v>
                </c:pt>
                <c:pt idx="606">
                  <c:v>41422</c:v>
                </c:pt>
                <c:pt idx="607">
                  <c:v>41423</c:v>
                </c:pt>
                <c:pt idx="608">
                  <c:v>41424</c:v>
                </c:pt>
                <c:pt idx="609">
                  <c:v>41425</c:v>
                </c:pt>
                <c:pt idx="610">
                  <c:v>41426</c:v>
                </c:pt>
                <c:pt idx="611">
                  <c:v>41427</c:v>
                </c:pt>
                <c:pt idx="612">
                  <c:v>41428</c:v>
                </c:pt>
                <c:pt idx="613">
                  <c:v>41429</c:v>
                </c:pt>
                <c:pt idx="614">
                  <c:v>41430</c:v>
                </c:pt>
                <c:pt idx="615">
                  <c:v>41431</c:v>
                </c:pt>
                <c:pt idx="616">
                  <c:v>41432</c:v>
                </c:pt>
                <c:pt idx="617">
                  <c:v>41433</c:v>
                </c:pt>
                <c:pt idx="618">
                  <c:v>41434</c:v>
                </c:pt>
                <c:pt idx="619">
                  <c:v>41435</c:v>
                </c:pt>
                <c:pt idx="620">
                  <c:v>41436</c:v>
                </c:pt>
                <c:pt idx="621">
                  <c:v>41437</c:v>
                </c:pt>
                <c:pt idx="622">
                  <c:v>41438</c:v>
                </c:pt>
                <c:pt idx="623">
                  <c:v>41439</c:v>
                </c:pt>
                <c:pt idx="624">
                  <c:v>41440</c:v>
                </c:pt>
                <c:pt idx="625">
                  <c:v>41441</c:v>
                </c:pt>
                <c:pt idx="626">
                  <c:v>41442</c:v>
                </c:pt>
                <c:pt idx="627">
                  <c:v>41443</c:v>
                </c:pt>
                <c:pt idx="628">
                  <c:v>41444</c:v>
                </c:pt>
                <c:pt idx="629">
                  <c:v>41445</c:v>
                </c:pt>
                <c:pt idx="630">
                  <c:v>41446</c:v>
                </c:pt>
                <c:pt idx="631">
                  <c:v>41447</c:v>
                </c:pt>
                <c:pt idx="632">
                  <c:v>41448</c:v>
                </c:pt>
                <c:pt idx="633">
                  <c:v>41449</c:v>
                </c:pt>
                <c:pt idx="634">
                  <c:v>41450</c:v>
                </c:pt>
                <c:pt idx="635">
                  <c:v>41451</c:v>
                </c:pt>
                <c:pt idx="636">
                  <c:v>41452</c:v>
                </c:pt>
                <c:pt idx="637">
                  <c:v>41453</c:v>
                </c:pt>
                <c:pt idx="638">
                  <c:v>41454</c:v>
                </c:pt>
                <c:pt idx="639">
                  <c:v>41455</c:v>
                </c:pt>
                <c:pt idx="640">
                  <c:v>41456</c:v>
                </c:pt>
                <c:pt idx="641">
                  <c:v>41457</c:v>
                </c:pt>
                <c:pt idx="642">
                  <c:v>41458</c:v>
                </c:pt>
                <c:pt idx="643">
                  <c:v>41459</c:v>
                </c:pt>
                <c:pt idx="644">
                  <c:v>41460</c:v>
                </c:pt>
                <c:pt idx="645">
                  <c:v>41461</c:v>
                </c:pt>
                <c:pt idx="646">
                  <c:v>41462</c:v>
                </c:pt>
                <c:pt idx="647">
                  <c:v>41463</c:v>
                </c:pt>
                <c:pt idx="648">
                  <c:v>41464</c:v>
                </c:pt>
                <c:pt idx="649">
                  <c:v>41465</c:v>
                </c:pt>
                <c:pt idx="650">
                  <c:v>41466</c:v>
                </c:pt>
                <c:pt idx="651">
                  <c:v>41467</c:v>
                </c:pt>
                <c:pt idx="652">
                  <c:v>41468</c:v>
                </c:pt>
                <c:pt idx="653">
                  <c:v>41469</c:v>
                </c:pt>
                <c:pt idx="654">
                  <c:v>41470</c:v>
                </c:pt>
                <c:pt idx="655">
                  <c:v>41471</c:v>
                </c:pt>
                <c:pt idx="656">
                  <c:v>41472</c:v>
                </c:pt>
                <c:pt idx="657">
                  <c:v>41473</c:v>
                </c:pt>
                <c:pt idx="658">
                  <c:v>41474</c:v>
                </c:pt>
                <c:pt idx="659">
                  <c:v>41475</c:v>
                </c:pt>
                <c:pt idx="660">
                  <c:v>41476</c:v>
                </c:pt>
                <c:pt idx="661">
                  <c:v>41477</c:v>
                </c:pt>
                <c:pt idx="662">
                  <c:v>41478</c:v>
                </c:pt>
                <c:pt idx="663">
                  <c:v>41479</c:v>
                </c:pt>
                <c:pt idx="664">
                  <c:v>41480</c:v>
                </c:pt>
                <c:pt idx="665">
                  <c:v>41481</c:v>
                </c:pt>
                <c:pt idx="666">
                  <c:v>41482</c:v>
                </c:pt>
                <c:pt idx="667">
                  <c:v>41483</c:v>
                </c:pt>
                <c:pt idx="668">
                  <c:v>41484</c:v>
                </c:pt>
                <c:pt idx="669">
                  <c:v>41485</c:v>
                </c:pt>
                <c:pt idx="670">
                  <c:v>41486</c:v>
                </c:pt>
                <c:pt idx="671">
                  <c:v>41487</c:v>
                </c:pt>
                <c:pt idx="672">
                  <c:v>41488</c:v>
                </c:pt>
                <c:pt idx="673">
                  <c:v>41489</c:v>
                </c:pt>
                <c:pt idx="674">
                  <c:v>41490</c:v>
                </c:pt>
                <c:pt idx="675">
                  <c:v>41491</c:v>
                </c:pt>
                <c:pt idx="676">
                  <c:v>41492</c:v>
                </c:pt>
                <c:pt idx="677">
                  <c:v>41493</c:v>
                </c:pt>
                <c:pt idx="678">
                  <c:v>41494</c:v>
                </c:pt>
                <c:pt idx="679">
                  <c:v>41495</c:v>
                </c:pt>
                <c:pt idx="680">
                  <c:v>41496</c:v>
                </c:pt>
                <c:pt idx="681">
                  <c:v>41497</c:v>
                </c:pt>
                <c:pt idx="682">
                  <c:v>41498</c:v>
                </c:pt>
                <c:pt idx="683">
                  <c:v>41499</c:v>
                </c:pt>
                <c:pt idx="684">
                  <c:v>41500</c:v>
                </c:pt>
                <c:pt idx="685">
                  <c:v>41501</c:v>
                </c:pt>
                <c:pt idx="686">
                  <c:v>41502</c:v>
                </c:pt>
                <c:pt idx="687">
                  <c:v>41503</c:v>
                </c:pt>
                <c:pt idx="688">
                  <c:v>41504</c:v>
                </c:pt>
                <c:pt idx="689">
                  <c:v>41505</c:v>
                </c:pt>
                <c:pt idx="690">
                  <c:v>41506</c:v>
                </c:pt>
                <c:pt idx="691">
                  <c:v>41507</c:v>
                </c:pt>
                <c:pt idx="692">
                  <c:v>41508</c:v>
                </c:pt>
                <c:pt idx="693">
                  <c:v>41509</c:v>
                </c:pt>
                <c:pt idx="694">
                  <c:v>41510</c:v>
                </c:pt>
                <c:pt idx="695">
                  <c:v>41511</c:v>
                </c:pt>
                <c:pt idx="696">
                  <c:v>41512</c:v>
                </c:pt>
                <c:pt idx="697">
                  <c:v>41513</c:v>
                </c:pt>
                <c:pt idx="698">
                  <c:v>41514</c:v>
                </c:pt>
                <c:pt idx="699">
                  <c:v>41515</c:v>
                </c:pt>
                <c:pt idx="700">
                  <c:v>41516</c:v>
                </c:pt>
                <c:pt idx="701">
                  <c:v>41517</c:v>
                </c:pt>
                <c:pt idx="702">
                  <c:v>41518</c:v>
                </c:pt>
                <c:pt idx="703">
                  <c:v>41519</c:v>
                </c:pt>
                <c:pt idx="704">
                  <c:v>41520</c:v>
                </c:pt>
                <c:pt idx="705">
                  <c:v>41521</c:v>
                </c:pt>
                <c:pt idx="706">
                  <c:v>41522</c:v>
                </c:pt>
                <c:pt idx="707">
                  <c:v>41523</c:v>
                </c:pt>
                <c:pt idx="708">
                  <c:v>41524</c:v>
                </c:pt>
                <c:pt idx="709">
                  <c:v>41525</c:v>
                </c:pt>
                <c:pt idx="710">
                  <c:v>41526</c:v>
                </c:pt>
                <c:pt idx="711">
                  <c:v>41527</c:v>
                </c:pt>
                <c:pt idx="712">
                  <c:v>41528</c:v>
                </c:pt>
                <c:pt idx="713">
                  <c:v>41529</c:v>
                </c:pt>
                <c:pt idx="714">
                  <c:v>41530</c:v>
                </c:pt>
                <c:pt idx="715">
                  <c:v>41531</c:v>
                </c:pt>
                <c:pt idx="716">
                  <c:v>41532</c:v>
                </c:pt>
                <c:pt idx="717">
                  <c:v>41533</c:v>
                </c:pt>
                <c:pt idx="718">
                  <c:v>41534</c:v>
                </c:pt>
                <c:pt idx="719">
                  <c:v>41535</c:v>
                </c:pt>
                <c:pt idx="720">
                  <c:v>41536</c:v>
                </c:pt>
                <c:pt idx="721">
                  <c:v>41537</c:v>
                </c:pt>
                <c:pt idx="722">
                  <c:v>41538</c:v>
                </c:pt>
                <c:pt idx="723">
                  <c:v>41539</c:v>
                </c:pt>
                <c:pt idx="724">
                  <c:v>41540</c:v>
                </c:pt>
                <c:pt idx="725">
                  <c:v>41541</c:v>
                </c:pt>
                <c:pt idx="726">
                  <c:v>41542</c:v>
                </c:pt>
                <c:pt idx="727">
                  <c:v>41543</c:v>
                </c:pt>
                <c:pt idx="728">
                  <c:v>41544</c:v>
                </c:pt>
                <c:pt idx="729">
                  <c:v>41545</c:v>
                </c:pt>
                <c:pt idx="730">
                  <c:v>41546</c:v>
                </c:pt>
                <c:pt idx="731">
                  <c:v>41547</c:v>
                </c:pt>
                <c:pt idx="732">
                  <c:v>41548</c:v>
                </c:pt>
                <c:pt idx="733">
                  <c:v>41549</c:v>
                </c:pt>
                <c:pt idx="734">
                  <c:v>41550</c:v>
                </c:pt>
                <c:pt idx="735">
                  <c:v>41551</c:v>
                </c:pt>
                <c:pt idx="736">
                  <c:v>41552</c:v>
                </c:pt>
                <c:pt idx="737">
                  <c:v>41553</c:v>
                </c:pt>
                <c:pt idx="738">
                  <c:v>41554</c:v>
                </c:pt>
                <c:pt idx="739">
                  <c:v>41555</c:v>
                </c:pt>
                <c:pt idx="740">
                  <c:v>41556</c:v>
                </c:pt>
                <c:pt idx="741">
                  <c:v>41557</c:v>
                </c:pt>
                <c:pt idx="742">
                  <c:v>41558</c:v>
                </c:pt>
                <c:pt idx="743">
                  <c:v>41559</c:v>
                </c:pt>
                <c:pt idx="744">
                  <c:v>41560</c:v>
                </c:pt>
                <c:pt idx="745">
                  <c:v>41561</c:v>
                </c:pt>
                <c:pt idx="746">
                  <c:v>41562</c:v>
                </c:pt>
                <c:pt idx="747">
                  <c:v>41563</c:v>
                </c:pt>
                <c:pt idx="748">
                  <c:v>41564</c:v>
                </c:pt>
                <c:pt idx="749">
                  <c:v>41565</c:v>
                </c:pt>
                <c:pt idx="750">
                  <c:v>41566</c:v>
                </c:pt>
                <c:pt idx="751">
                  <c:v>41567</c:v>
                </c:pt>
                <c:pt idx="752">
                  <c:v>41568</c:v>
                </c:pt>
                <c:pt idx="753">
                  <c:v>41569</c:v>
                </c:pt>
                <c:pt idx="754">
                  <c:v>41570</c:v>
                </c:pt>
                <c:pt idx="755">
                  <c:v>41571</c:v>
                </c:pt>
                <c:pt idx="756">
                  <c:v>41572</c:v>
                </c:pt>
                <c:pt idx="757">
                  <c:v>41573</c:v>
                </c:pt>
                <c:pt idx="758">
                  <c:v>41574</c:v>
                </c:pt>
                <c:pt idx="759">
                  <c:v>41575</c:v>
                </c:pt>
                <c:pt idx="760">
                  <c:v>41576</c:v>
                </c:pt>
                <c:pt idx="761">
                  <c:v>41577</c:v>
                </c:pt>
                <c:pt idx="762">
                  <c:v>41578</c:v>
                </c:pt>
                <c:pt idx="763">
                  <c:v>41579</c:v>
                </c:pt>
                <c:pt idx="764">
                  <c:v>41580</c:v>
                </c:pt>
                <c:pt idx="765">
                  <c:v>41581</c:v>
                </c:pt>
                <c:pt idx="766">
                  <c:v>41582</c:v>
                </c:pt>
                <c:pt idx="767">
                  <c:v>41583</c:v>
                </c:pt>
                <c:pt idx="768">
                  <c:v>41584</c:v>
                </c:pt>
                <c:pt idx="769">
                  <c:v>41585</c:v>
                </c:pt>
                <c:pt idx="770">
                  <c:v>41586</c:v>
                </c:pt>
                <c:pt idx="771">
                  <c:v>41587</c:v>
                </c:pt>
                <c:pt idx="772">
                  <c:v>41588</c:v>
                </c:pt>
                <c:pt idx="773">
                  <c:v>41589</c:v>
                </c:pt>
                <c:pt idx="774">
                  <c:v>41590</c:v>
                </c:pt>
                <c:pt idx="775">
                  <c:v>41591</c:v>
                </c:pt>
                <c:pt idx="776">
                  <c:v>41592</c:v>
                </c:pt>
                <c:pt idx="777">
                  <c:v>41593</c:v>
                </c:pt>
                <c:pt idx="778">
                  <c:v>41594</c:v>
                </c:pt>
                <c:pt idx="779">
                  <c:v>41595</c:v>
                </c:pt>
                <c:pt idx="780">
                  <c:v>41596</c:v>
                </c:pt>
                <c:pt idx="781">
                  <c:v>41597</c:v>
                </c:pt>
                <c:pt idx="782">
                  <c:v>41598</c:v>
                </c:pt>
                <c:pt idx="783">
                  <c:v>41599</c:v>
                </c:pt>
                <c:pt idx="784">
                  <c:v>41600</c:v>
                </c:pt>
                <c:pt idx="785">
                  <c:v>41601</c:v>
                </c:pt>
                <c:pt idx="786">
                  <c:v>41602</c:v>
                </c:pt>
                <c:pt idx="787">
                  <c:v>41603</c:v>
                </c:pt>
                <c:pt idx="788">
                  <c:v>41604</c:v>
                </c:pt>
                <c:pt idx="789">
                  <c:v>41605</c:v>
                </c:pt>
                <c:pt idx="790">
                  <c:v>41606</c:v>
                </c:pt>
                <c:pt idx="791">
                  <c:v>41607</c:v>
                </c:pt>
                <c:pt idx="792">
                  <c:v>41608</c:v>
                </c:pt>
                <c:pt idx="793">
                  <c:v>41609</c:v>
                </c:pt>
                <c:pt idx="794">
                  <c:v>41610</c:v>
                </c:pt>
                <c:pt idx="795">
                  <c:v>41611</c:v>
                </c:pt>
                <c:pt idx="796">
                  <c:v>41612</c:v>
                </c:pt>
                <c:pt idx="797">
                  <c:v>41613</c:v>
                </c:pt>
                <c:pt idx="798">
                  <c:v>41614</c:v>
                </c:pt>
                <c:pt idx="799">
                  <c:v>41615</c:v>
                </c:pt>
                <c:pt idx="800">
                  <c:v>41616</c:v>
                </c:pt>
                <c:pt idx="801">
                  <c:v>41617</c:v>
                </c:pt>
                <c:pt idx="802">
                  <c:v>41618</c:v>
                </c:pt>
                <c:pt idx="803">
                  <c:v>41619</c:v>
                </c:pt>
                <c:pt idx="804">
                  <c:v>41620</c:v>
                </c:pt>
                <c:pt idx="805">
                  <c:v>41621</c:v>
                </c:pt>
                <c:pt idx="806">
                  <c:v>41622</c:v>
                </c:pt>
                <c:pt idx="807">
                  <c:v>41623</c:v>
                </c:pt>
                <c:pt idx="808">
                  <c:v>41624</c:v>
                </c:pt>
                <c:pt idx="809">
                  <c:v>41625</c:v>
                </c:pt>
                <c:pt idx="810">
                  <c:v>41626</c:v>
                </c:pt>
                <c:pt idx="811">
                  <c:v>41627</c:v>
                </c:pt>
                <c:pt idx="812">
                  <c:v>41628</c:v>
                </c:pt>
                <c:pt idx="813">
                  <c:v>41629</c:v>
                </c:pt>
                <c:pt idx="814">
                  <c:v>41630</c:v>
                </c:pt>
                <c:pt idx="815">
                  <c:v>41631</c:v>
                </c:pt>
                <c:pt idx="816">
                  <c:v>41632</c:v>
                </c:pt>
                <c:pt idx="817">
                  <c:v>41633</c:v>
                </c:pt>
                <c:pt idx="818">
                  <c:v>41634</c:v>
                </c:pt>
                <c:pt idx="819">
                  <c:v>41635</c:v>
                </c:pt>
                <c:pt idx="820">
                  <c:v>41636</c:v>
                </c:pt>
                <c:pt idx="821">
                  <c:v>41637</c:v>
                </c:pt>
                <c:pt idx="822">
                  <c:v>41638</c:v>
                </c:pt>
                <c:pt idx="823">
                  <c:v>41639</c:v>
                </c:pt>
                <c:pt idx="824">
                  <c:v>41640</c:v>
                </c:pt>
                <c:pt idx="825">
                  <c:v>41641</c:v>
                </c:pt>
                <c:pt idx="826">
                  <c:v>41642</c:v>
                </c:pt>
                <c:pt idx="827">
                  <c:v>41643</c:v>
                </c:pt>
                <c:pt idx="828">
                  <c:v>41644</c:v>
                </c:pt>
                <c:pt idx="829">
                  <c:v>41645</c:v>
                </c:pt>
                <c:pt idx="830">
                  <c:v>41646</c:v>
                </c:pt>
                <c:pt idx="831">
                  <c:v>41647</c:v>
                </c:pt>
                <c:pt idx="832">
                  <c:v>41648</c:v>
                </c:pt>
                <c:pt idx="833">
                  <c:v>41649</c:v>
                </c:pt>
                <c:pt idx="834">
                  <c:v>41650</c:v>
                </c:pt>
                <c:pt idx="835">
                  <c:v>41651</c:v>
                </c:pt>
                <c:pt idx="836">
                  <c:v>41652</c:v>
                </c:pt>
                <c:pt idx="837">
                  <c:v>41653</c:v>
                </c:pt>
                <c:pt idx="838">
                  <c:v>41654</c:v>
                </c:pt>
                <c:pt idx="839">
                  <c:v>41655</c:v>
                </c:pt>
                <c:pt idx="840">
                  <c:v>41656</c:v>
                </c:pt>
                <c:pt idx="841">
                  <c:v>41657</c:v>
                </c:pt>
                <c:pt idx="842">
                  <c:v>41658</c:v>
                </c:pt>
                <c:pt idx="843">
                  <c:v>41659</c:v>
                </c:pt>
                <c:pt idx="844">
                  <c:v>41660</c:v>
                </c:pt>
                <c:pt idx="845">
                  <c:v>41661</c:v>
                </c:pt>
                <c:pt idx="846">
                  <c:v>41662</c:v>
                </c:pt>
                <c:pt idx="847">
                  <c:v>41663</c:v>
                </c:pt>
                <c:pt idx="848">
                  <c:v>41664</c:v>
                </c:pt>
                <c:pt idx="849">
                  <c:v>41665</c:v>
                </c:pt>
                <c:pt idx="850">
                  <c:v>41666</c:v>
                </c:pt>
                <c:pt idx="851">
                  <c:v>41667</c:v>
                </c:pt>
                <c:pt idx="852">
                  <c:v>41668</c:v>
                </c:pt>
                <c:pt idx="853">
                  <c:v>41669</c:v>
                </c:pt>
                <c:pt idx="854">
                  <c:v>41670</c:v>
                </c:pt>
                <c:pt idx="855">
                  <c:v>41671</c:v>
                </c:pt>
                <c:pt idx="856">
                  <c:v>41672</c:v>
                </c:pt>
                <c:pt idx="857">
                  <c:v>41673</c:v>
                </c:pt>
                <c:pt idx="858">
                  <c:v>41674</c:v>
                </c:pt>
                <c:pt idx="859">
                  <c:v>41675</c:v>
                </c:pt>
                <c:pt idx="860">
                  <c:v>41676</c:v>
                </c:pt>
                <c:pt idx="861">
                  <c:v>41677</c:v>
                </c:pt>
                <c:pt idx="862">
                  <c:v>41678</c:v>
                </c:pt>
                <c:pt idx="863">
                  <c:v>41679</c:v>
                </c:pt>
                <c:pt idx="864">
                  <c:v>41680</c:v>
                </c:pt>
                <c:pt idx="865">
                  <c:v>41681</c:v>
                </c:pt>
                <c:pt idx="866">
                  <c:v>41682</c:v>
                </c:pt>
                <c:pt idx="867">
                  <c:v>41683</c:v>
                </c:pt>
                <c:pt idx="868">
                  <c:v>41684</c:v>
                </c:pt>
                <c:pt idx="869">
                  <c:v>41685</c:v>
                </c:pt>
                <c:pt idx="870">
                  <c:v>41686</c:v>
                </c:pt>
                <c:pt idx="871">
                  <c:v>41687</c:v>
                </c:pt>
                <c:pt idx="872">
                  <c:v>41688</c:v>
                </c:pt>
                <c:pt idx="873">
                  <c:v>41689</c:v>
                </c:pt>
                <c:pt idx="874">
                  <c:v>41690</c:v>
                </c:pt>
                <c:pt idx="875">
                  <c:v>41691</c:v>
                </c:pt>
                <c:pt idx="876">
                  <c:v>41692</c:v>
                </c:pt>
                <c:pt idx="877">
                  <c:v>41693</c:v>
                </c:pt>
                <c:pt idx="878">
                  <c:v>41694</c:v>
                </c:pt>
                <c:pt idx="879">
                  <c:v>41695</c:v>
                </c:pt>
                <c:pt idx="880">
                  <c:v>41696</c:v>
                </c:pt>
                <c:pt idx="881">
                  <c:v>41697</c:v>
                </c:pt>
                <c:pt idx="882">
                  <c:v>41698</c:v>
                </c:pt>
                <c:pt idx="883">
                  <c:v>41699</c:v>
                </c:pt>
                <c:pt idx="884">
                  <c:v>41700</c:v>
                </c:pt>
                <c:pt idx="885">
                  <c:v>41701</c:v>
                </c:pt>
                <c:pt idx="886">
                  <c:v>41702</c:v>
                </c:pt>
                <c:pt idx="887">
                  <c:v>41703</c:v>
                </c:pt>
                <c:pt idx="888">
                  <c:v>41704</c:v>
                </c:pt>
                <c:pt idx="889">
                  <c:v>41705</c:v>
                </c:pt>
                <c:pt idx="890">
                  <c:v>41706</c:v>
                </c:pt>
                <c:pt idx="891">
                  <c:v>41707</c:v>
                </c:pt>
                <c:pt idx="892">
                  <c:v>41708</c:v>
                </c:pt>
                <c:pt idx="893">
                  <c:v>41709</c:v>
                </c:pt>
                <c:pt idx="894">
                  <c:v>41710</c:v>
                </c:pt>
                <c:pt idx="895">
                  <c:v>41711</c:v>
                </c:pt>
                <c:pt idx="896">
                  <c:v>41712</c:v>
                </c:pt>
                <c:pt idx="897">
                  <c:v>41713</c:v>
                </c:pt>
                <c:pt idx="898">
                  <c:v>41714</c:v>
                </c:pt>
                <c:pt idx="899">
                  <c:v>41715</c:v>
                </c:pt>
                <c:pt idx="900">
                  <c:v>41716</c:v>
                </c:pt>
                <c:pt idx="901">
                  <c:v>41717</c:v>
                </c:pt>
                <c:pt idx="902">
                  <c:v>41718</c:v>
                </c:pt>
                <c:pt idx="903">
                  <c:v>41719</c:v>
                </c:pt>
                <c:pt idx="904">
                  <c:v>41720</c:v>
                </c:pt>
                <c:pt idx="905">
                  <c:v>41721</c:v>
                </c:pt>
                <c:pt idx="906">
                  <c:v>41722</c:v>
                </c:pt>
                <c:pt idx="907">
                  <c:v>41723</c:v>
                </c:pt>
                <c:pt idx="908">
                  <c:v>41724</c:v>
                </c:pt>
                <c:pt idx="909">
                  <c:v>41725</c:v>
                </c:pt>
                <c:pt idx="910">
                  <c:v>41726</c:v>
                </c:pt>
                <c:pt idx="911">
                  <c:v>41727</c:v>
                </c:pt>
                <c:pt idx="912">
                  <c:v>41728</c:v>
                </c:pt>
                <c:pt idx="913">
                  <c:v>41729</c:v>
                </c:pt>
                <c:pt idx="914">
                  <c:v>41730</c:v>
                </c:pt>
                <c:pt idx="915">
                  <c:v>41731</c:v>
                </c:pt>
                <c:pt idx="916">
                  <c:v>41732</c:v>
                </c:pt>
                <c:pt idx="917">
                  <c:v>41733</c:v>
                </c:pt>
                <c:pt idx="918">
                  <c:v>41734</c:v>
                </c:pt>
                <c:pt idx="919">
                  <c:v>41735</c:v>
                </c:pt>
                <c:pt idx="920">
                  <c:v>41736</c:v>
                </c:pt>
                <c:pt idx="921">
                  <c:v>41737</c:v>
                </c:pt>
                <c:pt idx="922">
                  <c:v>41738</c:v>
                </c:pt>
                <c:pt idx="923">
                  <c:v>41739</c:v>
                </c:pt>
                <c:pt idx="924">
                  <c:v>41740</c:v>
                </c:pt>
                <c:pt idx="925">
                  <c:v>41741</c:v>
                </c:pt>
                <c:pt idx="926">
                  <c:v>41742</c:v>
                </c:pt>
                <c:pt idx="927">
                  <c:v>41743</c:v>
                </c:pt>
                <c:pt idx="928">
                  <c:v>41744</c:v>
                </c:pt>
                <c:pt idx="929">
                  <c:v>41745</c:v>
                </c:pt>
                <c:pt idx="930">
                  <c:v>41746</c:v>
                </c:pt>
                <c:pt idx="931">
                  <c:v>41747</c:v>
                </c:pt>
                <c:pt idx="932">
                  <c:v>41748</c:v>
                </c:pt>
                <c:pt idx="933">
                  <c:v>41749</c:v>
                </c:pt>
                <c:pt idx="934">
                  <c:v>41750</c:v>
                </c:pt>
                <c:pt idx="935">
                  <c:v>41751</c:v>
                </c:pt>
                <c:pt idx="936">
                  <c:v>41752</c:v>
                </c:pt>
                <c:pt idx="937">
                  <c:v>41753</c:v>
                </c:pt>
                <c:pt idx="938">
                  <c:v>41754</c:v>
                </c:pt>
                <c:pt idx="939">
                  <c:v>41755</c:v>
                </c:pt>
                <c:pt idx="940">
                  <c:v>41756</c:v>
                </c:pt>
                <c:pt idx="941">
                  <c:v>41757</c:v>
                </c:pt>
                <c:pt idx="942">
                  <c:v>41758</c:v>
                </c:pt>
                <c:pt idx="943">
                  <c:v>41759</c:v>
                </c:pt>
                <c:pt idx="944">
                  <c:v>41760</c:v>
                </c:pt>
                <c:pt idx="945">
                  <c:v>41761</c:v>
                </c:pt>
                <c:pt idx="946">
                  <c:v>41762</c:v>
                </c:pt>
                <c:pt idx="947">
                  <c:v>41763</c:v>
                </c:pt>
                <c:pt idx="948">
                  <c:v>41764</c:v>
                </c:pt>
                <c:pt idx="949">
                  <c:v>41765</c:v>
                </c:pt>
                <c:pt idx="950">
                  <c:v>41766</c:v>
                </c:pt>
                <c:pt idx="951">
                  <c:v>41767</c:v>
                </c:pt>
                <c:pt idx="952">
                  <c:v>41768</c:v>
                </c:pt>
                <c:pt idx="953">
                  <c:v>41769</c:v>
                </c:pt>
                <c:pt idx="954">
                  <c:v>41770</c:v>
                </c:pt>
                <c:pt idx="955">
                  <c:v>41771</c:v>
                </c:pt>
                <c:pt idx="956">
                  <c:v>41772</c:v>
                </c:pt>
                <c:pt idx="957">
                  <c:v>41773</c:v>
                </c:pt>
                <c:pt idx="958">
                  <c:v>41774</c:v>
                </c:pt>
                <c:pt idx="959">
                  <c:v>41775</c:v>
                </c:pt>
                <c:pt idx="960">
                  <c:v>41776</c:v>
                </c:pt>
                <c:pt idx="961">
                  <c:v>41777</c:v>
                </c:pt>
                <c:pt idx="962">
                  <c:v>41778</c:v>
                </c:pt>
                <c:pt idx="963">
                  <c:v>41779</c:v>
                </c:pt>
                <c:pt idx="964">
                  <c:v>41780</c:v>
                </c:pt>
                <c:pt idx="965">
                  <c:v>41781</c:v>
                </c:pt>
                <c:pt idx="966">
                  <c:v>41782</c:v>
                </c:pt>
                <c:pt idx="967">
                  <c:v>41783</c:v>
                </c:pt>
                <c:pt idx="968">
                  <c:v>41784</c:v>
                </c:pt>
                <c:pt idx="969">
                  <c:v>41785</c:v>
                </c:pt>
                <c:pt idx="970">
                  <c:v>41786</c:v>
                </c:pt>
                <c:pt idx="971">
                  <c:v>41787</c:v>
                </c:pt>
                <c:pt idx="972">
                  <c:v>41788</c:v>
                </c:pt>
                <c:pt idx="973">
                  <c:v>41789</c:v>
                </c:pt>
                <c:pt idx="974">
                  <c:v>41790</c:v>
                </c:pt>
                <c:pt idx="975">
                  <c:v>41791</c:v>
                </c:pt>
                <c:pt idx="976">
                  <c:v>41792</c:v>
                </c:pt>
                <c:pt idx="977">
                  <c:v>41793</c:v>
                </c:pt>
                <c:pt idx="978">
                  <c:v>41794</c:v>
                </c:pt>
                <c:pt idx="979">
                  <c:v>41795</c:v>
                </c:pt>
                <c:pt idx="980">
                  <c:v>41796</c:v>
                </c:pt>
                <c:pt idx="981">
                  <c:v>41797</c:v>
                </c:pt>
                <c:pt idx="982">
                  <c:v>41798</c:v>
                </c:pt>
                <c:pt idx="983">
                  <c:v>41799</c:v>
                </c:pt>
                <c:pt idx="984">
                  <c:v>41800</c:v>
                </c:pt>
                <c:pt idx="985">
                  <c:v>41801</c:v>
                </c:pt>
                <c:pt idx="986">
                  <c:v>41802</c:v>
                </c:pt>
                <c:pt idx="987">
                  <c:v>41803</c:v>
                </c:pt>
                <c:pt idx="988">
                  <c:v>41804</c:v>
                </c:pt>
                <c:pt idx="989">
                  <c:v>41805</c:v>
                </c:pt>
                <c:pt idx="990">
                  <c:v>41806</c:v>
                </c:pt>
                <c:pt idx="991">
                  <c:v>41807</c:v>
                </c:pt>
                <c:pt idx="992">
                  <c:v>41808</c:v>
                </c:pt>
                <c:pt idx="993">
                  <c:v>41809</c:v>
                </c:pt>
                <c:pt idx="994">
                  <c:v>41810</c:v>
                </c:pt>
                <c:pt idx="995">
                  <c:v>41811</c:v>
                </c:pt>
                <c:pt idx="996">
                  <c:v>41812</c:v>
                </c:pt>
                <c:pt idx="997">
                  <c:v>41813</c:v>
                </c:pt>
                <c:pt idx="998">
                  <c:v>41814</c:v>
                </c:pt>
                <c:pt idx="999">
                  <c:v>41815</c:v>
                </c:pt>
                <c:pt idx="1000">
                  <c:v>41816</c:v>
                </c:pt>
                <c:pt idx="1001">
                  <c:v>41817</c:v>
                </c:pt>
                <c:pt idx="1002">
                  <c:v>41818</c:v>
                </c:pt>
                <c:pt idx="1003">
                  <c:v>41819</c:v>
                </c:pt>
                <c:pt idx="1004">
                  <c:v>41820</c:v>
                </c:pt>
                <c:pt idx="1005">
                  <c:v>41821</c:v>
                </c:pt>
                <c:pt idx="1006">
                  <c:v>41822</c:v>
                </c:pt>
                <c:pt idx="1007">
                  <c:v>41823</c:v>
                </c:pt>
                <c:pt idx="1008">
                  <c:v>41824</c:v>
                </c:pt>
                <c:pt idx="1009">
                  <c:v>41825</c:v>
                </c:pt>
                <c:pt idx="1010">
                  <c:v>41826</c:v>
                </c:pt>
                <c:pt idx="1011">
                  <c:v>41827</c:v>
                </c:pt>
                <c:pt idx="1012">
                  <c:v>41828</c:v>
                </c:pt>
                <c:pt idx="1013">
                  <c:v>41829</c:v>
                </c:pt>
                <c:pt idx="1014">
                  <c:v>41830</c:v>
                </c:pt>
                <c:pt idx="1015">
                  <c:v>41831</c:v>
                </c:pt>
                <c:pt idx="1016">
                  <c:v>41832</c:v>
                </c:pt>
                <c:pt idx="1017">
                  <c:v>41833</c:v>
                </c:pt>
                <c:pt idx="1018">
                  <c:v>41834</c:v>
                </c:pt>
                <c:pt idx="1019">
                  <c:v>41835</c:v>
                </c:pt>
                <c:pt idx="1020">
                  <c:v>41836</c:v>
                </c:pt>
                <c:pt idx="1021">
                  <c:v>41837</c:v>
                </c:pt>
                <c:pt idx="1022">
                  <c:v>41838</c:v>
                </c:pt>
                <c:pt idx="1023">
                  <c:v>41839</c:v>
                </c:pt>
                <c:pt idx="1024">
                  <c:v>41840</c:v>
                </c:pt>
                <c:pt idx="1025">
                  <c:v>41841</c:v>
                </c:pt>
                <c:pt idx="1026">
                  <c:v>41842</c:v>
                </c:pt>
                <c:pt idx="1027">
                  <c:v>41843</c:v>
                </c:pt>
                <c:pt idx="1028">
                  <c:v>41844</c:v>
                </c:pt>
                <c:pt idx="1029">
                  <c:v>41845</c:v>
                </c:pt>
                <c:pt idx="1030">
                  <c:v>41846</c:v>
                </c:pt>
                <c:pt idx="1031">
                  <c:v>41847</c:v>
                </c:pt>
                <c:pt idx="1032">
                  <c:v>41848</c:v>
                </c:pt>
                <c:pt idx="1033">
                  <c:v>41849</c:v>
                </c:pt>
                <c:pt idx="1034">
                  <c:v>41850</c:v>
                </c:pt>
                <c:pt idx="1035">
                  <c:v>41851</c:v>
                </c:pt>
                <c:pt idx="1036">
                  <c:v>41852</c:v>
                </c:pt>
                <c:pt idx="1037">
                  <c:v>41853</c:v>
                </c:pt>
                <c:pt idx="1038">
                  <c:v>41854</c:v>
                </c:pt>
                <c:pt idx="1039">
                  <c:v>41855</c:v>
                </c:pt>
                <c:pt idx="1040">
                  <c:v>41856</c:v>
                </c:pt>
                <c:pt idx="1041">
                  <c:v>41857</c:v>
                </c:pt>
                <c:pt idx="1042">
                  <c:v>41858</c:v>
                </c:pt>
                <c:pt idx="1043">
                  <c:v>41859</c:v>
                </c:pt>
                <c:pt idx="1044">
                  <c:v>41860</c:v>
                </c:pt>
                <c:pt idx="1045">
                  <c:v>41861</c:v>
                </c:pt>
                <c:pt idx="1046">
                  <c:v>41862</c:v>
                </c:pt>
                <c:pt idx="1047">
                  <c:v>41863</c:v>
                </c:pt>
                <c:pt idx="1048">
                  <c:v>41864</c:v>
                </c:pt>
                <c:pt idx="1049">
                  <c:v>41865</c:v>
                </c:pt>
                <c:pt idx="1050">
                  <c:v>41866</c:v>
                </c:pt>
                <c:pt idx="1051">
                  <c:v>41867</c:v>
                </c:pt>
                <c:pt idx="1052">
                  <c:v>41868</c:v>
                </c:pt>
                <c:pt idx="1053">
                  <c:v>41869</c:v>
                </c:pt>
                <c:pt idx="1054">
                  <c:v>41870</c:v>
                </c:pt>
                <c:pt idx="1055">
                  <c:v>41871</c:v>
                </c:pt>
                <c:pt idx="1056">
                  <c:v>41872</c:v>
                </c:pt>
                <c:pt idx="1057">
                  <c:v>41873</c:v>
                </c:pt>
                <c:pt idx="1058">
                  <c:v>41874</c:v>
                </c:pt>
                <c:pt idx="1059">
                  <c:v>41875</c:v>
                </c:pt>
                <c:pt idx="1060">
                  <c:v>41876</c:v>
                </c:pt>
                <c:pt idx="1061">
                  <c:v>41877</c:v>
                </c:pt>
                <c:pt idx="1062">
                  <c:v>41878</c:v>
                </c:pt>
                <c:pt idx="1063">
                  <c:v>41879</c:v>
                </c:pt>
                <c:pt idx="1064">
                  <c:v>41880</c:v>
                </c:pt>
                <c:pt idx="1065">
                  <c:v>41881</c:v>
                </c:pt>
                <c:pt idx="1066">
                  <c:v>41882</c:v>
                </c:pt>
                <c:pt idx="1067">
                  <c:v>41883</c:v>
                </c:pt>
                <c:pt idx="1068">
                  <c:v>41884</c:v>
                </c:pt>
                <c:pt idx="1069">
                  <c:v>41885</c:v>
                </c:pt>
                <c:pt idx="1070">
                  <c:v>41886</c:v>
                </c:pt>
                <c:pt idx="1071">
                  <c:v>41887</c:v>
                </c:pt>
                <c:pt idx="1072">
                  <c:v>41888</c:v>
                </c:pt>
                <c:pt idx="1073">
                  <c:v>41889</c:v>
                </c:pt>
                <c:pt idx="1074">
                  <c:v>41890</c:v>
                </c:pt>
                <c:pt idx="1075">
                  <c:v>41891</c:v>
                </c:pt>
                <c:pt idx="1076">
                  <c:v>41892</c:v>
                </c:pt>
                <c:pt idx="1077">
                  <c:v>41893</c:v>
                </c:pt>
                <c:pt idx="1078">
                  <c:v>41894</c:v>
                </c:pt>
                <c:pt idx="1079">
                  <c:v>41895</c:v>
                </c:pt>
                <c:pt idx="1080">
                  <c:v>41896</c:v>
                </c:pt>
                <c:pt idx="1081">
                  <c:v>41897</c:v>
                </c:pt>
                <c:pt idx="1082">
                  <c:v>41898</c:v>
                </c:pt>
                <c:pt idx="1083">
                  <c:v>41899</c:v>
                </c:pt>
                <c:pt idx="1084">
                  <c:v>41900</c:v>
                </c:pt>
                <c:pt idx="1085">
                  <c:v>41901</c:v>
                </c:pt>
                <c:pt idx="1086">
                  <c:v>41902</c:v>
                </c:pt>
                <c:pt idx="1087">
                  <c:v>41903</c:v>
                </c:pt>
                <c:pt idx="1088">
                  <c:v>41904</c:v>
                </c:pt>
                <c:pt idx="1089">
                  <c:v>41905</c:v>
                </c:pt>
                <c:pt idx="1090">
                  <c:v>41906</c:v>
                </c:pt>
                <c:pt idx="1091">
                  <c:v>41907</c:v>
                </c:pt>
                <c:pt idx="1092">
                  <c:v>41908</c:v>
                </c:pt>
                <c:pt idx="1093">
                  <c:v>41909</c:v>
                </c:pt>
                <c:pt idx="1094">
                  <c:v>41910</c:v>
                </c:pt>
                <c:pt idx="1095">
                  <c:v>41911</c:v>
                </c:pt>
                <c:pt idx="1096">
                  <c:v>41912</c:v>
                </c:pt>
                <c:pt idx="1097">
                  <c:v>41913</c:v>
                </c:pt>
                <c:pt idx="1098">
                  <c:v>41914</c:v>
                </c:pt>
                <c:pt idx="1099">
                  <c:v>41915</c:v>
                </c:pt>
                <c:pt idx="1100">
                  <c:v>41916</c:v>
                </c:pt>
                <c:pt idx="1101">
                  <c:v>41917</c:v>
                </c:pt>
                <c:pt idx="1102">
                  <c:v>41918</c:v>
                </c:pt>
                <c:pt idx="1103">
                  <c:v>41919</c:v>
                </c:pt>
                <c:pt idx="1104">
                  <c:v>41920</c:v>
                </c:pt>
                <c:pt idx="1105">
                  <c:v>41921</c:v>
                </c:pt>
                <c:pt idx="1106">
                  <c:v>41922</c:v>
                </c:pt>
                <c:pt idx="1107">
                  <c:v>41923</c:v>
                </c:pt>
                <c:pt idx="1108">
                  <c:v>41924</c:v>
                </c:pt>
                <c:pt idx="1109">
                  <c:v>41925</c:v>
                </c:pt>
                <c:pt idx="1110">
                  <c:v>41926</c:v>
                </c:pt>
                <c:pt idx="1111">
                  <c:v>41927</c:v>
                </c:pt>
                <c:pt idx="1112">
                  <c:v>41928</c:v>
                </c:pt>
                <c:pt idx="1113">
                  <c:v>41929</c:v>
                </c:pt>
                <c:pt idx="1114">
                  <c:v>41930</c:v>
                </c:pt>
                <c:pt idx="1115">
                  <c:v>41931</c:v>
                </c:pt>
                <c:pt idx="1116">
                  <c:v>41932</c:v>
                </c:pt>
                <c:pt idx="1117">
                  <c:v>41933</c:v>
                </c:pt>
                <c:pt idx="1118">
                  <c:v>41934</c:v>
                </c:pt>
                <c:pt idx="1119">
                  <c:v>41935</c:v>
                </c:pt>
                <c:pt idx="1120">
                  <c:v>41936</c:v>
                </c:pt>
                <c:pt idx="1121">
                  <c:v>41937</c:v>
                </c:pt>
                <c:pt idx="1122">
                  <c:v>41938</c:v>
                </c:pt>
                <c:pt idx="1123">
                  <c:v>41939</c:v>
                </c:pt>
                <c:pt idx="1124">
                  <c:v>41940</c:v>
                </c:pt>
                <c:pt idx="1125">
                  <c:v>41941</c:v>
                </c:pt>
                <c:pt idx="1126">
                  <c:v>41942</c:v>
                </c:pt>
                <c:pt idx="1127">
                  <c:v>41943</c:v>
                </c:pt>
                <c:pt idx="1128">
                  <c:v>41944</c:v>
                </c:pt>
                <c:pt idx="1129">
                  <c:v>41945</c:v>
                </c:pt>
                <c:pt idx="1130">
                  <c:v>41946</c:v>
                </c:pt>
                <c:pt idx="1131">
                  <c:v>41947</c:v>
                </c:pt>
                <c:pt idx="1132">
                  <c:v>41948</c:v>
                </c:pt>
                <c:pt idx="1133">
                  <c:v>41949</c:v>
                </c:pt>
                <c:pt idx="1134">
                  <c:v>41950</c:v>
                </c:pt>
                <c:pt idx="1135">
                  <c:v>41951</c:v>
                </c:pt>
                <c:pt idx="1136">
                  <c:v>41952</c:v>
                </c:pt>
                <c:pt idx="1137">
                  <c:v>41953</c:v>
                </c:pt>
                <c:pt idx="1138">
                  <c:v>41954</c:v>
                </c:pt>
                <c:pt idx="1139">
                  <c:v>41955</c:v>
                </c:pt>
                <c:pt idx="1140">
                  <c:v>41956</c:v>
                </c:pt>
                <c:pt idx="1141">
                  <c:v>41957</c:v>
                </c:pt>
                <c:pt idx="1142">
                  <c:v>41958</c:v>
                </c:pt>
                <c:pt idx="1143">
                  <c:v>41959</c:v>
                </c:pt>
                <c:pt idx="1144">
                  <c:v>41960</c:v>
                </c:pt>
                <c:pt idx="1145">
                  <c:v>41961</c:v>
                </c:pt>
                <c:pt idx="1146">
                  <c:v>41962</c:v>
                </c:pt>
                <c:pt idx="1147">
                  <c:v>41963</c:v>
                </c:pt>
                <c:pt idx="1148">
                  <c:v>41964</c:v>
                </c:pt>
                <c:pt idx="1149">
                  <c:v>41965</c:v>
                </c:pt>
                <c:pt idx="1150">
                  <c:v>41966</c:v>
                </c:pt>
                <c:pt idx="1151">
                  <c:v>41967</c:v>
                </c:pt>
                <c:pt idx="1152">
                  <c:v>41968</c:v>
                </c:pt>
                <c:pt idx="1153">
                  <c:v>41969</c:v>
                </c:pt>
                <c:pt idx="1154">
                  <c:v>41970</c:v>
                </c:pt>
                <c:pt idx="1155">
                  <c:v>41971</c:v>
                </c:pt>
                <c:pt idx="1156">
                  <c:v>41972</c:v>
                </c:pt>
                <c:pt idx="1157">
                  <c:v>41973</c:v>
                </c:pt>
                <c:pt idx="1158">
                  <c:v>41974</c:v>
                </c:pt>
                <c:pt idx="1159">
                  <c:v>41975</c:v>
                </c:pt>
                <c:pt idx="1160">
                  <c:v>41976</c:v>
                </c:pt>
                <c:pt idx="1161">
                  <c:v>41977</c:v>
                </c:pt>
                <c:pt idx="1162">
                  <c:v>41978</c:v>
                </c:pt>
                <c:pt idx="1163">
                  <c:v>41979</c:v>
                </c:pt>
                <c:pt idx="1164">
                  <c:v>41980</c:v>
                </c:pt>
                <c:pt idx="1165">
                  <c:v>41981</c:v>
                </c:pt>
                <c:pt idx="1166">
                  <c:v>41982</c:v>
                </c:pt>
                <c:pt idx="1167">
                  <c:v>41983</c:v>
                </c:pt>
                <c:pt idx="1168">
                  <c:v>41984</c:v>
                </c:pt>
                <c:pt idx="1169">
                  <c:v>41985</c:v>
                </c:pt>
                <c:pt idx="1170">
                  <c:v>41986</c:v>
                </c:pt>
                <c:pt idx="1171">
                  <c:v>41987</c:v>
                </c:pt>
                <c:pt idx="1172">
                  <c:v>41988</c:v>
                </c:pt>
                <c:pt idx="1173">
                  <c:v>41989</c:v>
                </c:pt>
                <c:pt idx="1174">
                  <c:v>41990</c:v>
                </c:pt>
                <c:pt idx="1175">
                  <c:v>41991</c:v>
                </c:pt>
                <c:pt idx="1176">
                  <c:v>41992</c:v>
                </c:pt>
                <c:pt idx="1177">
                  <c:v>41993</c:v>
                </c:pt>
                <c:pt idx="1178">
                  <c:v>41994</c:v>
                </c:pt>
                <c:pt idx="1179">
                  <c:v>41995</c:v>
                </c:pt>
                <c:pt idx="1180">
                  <c:v>41996</c:v>
                </c:pt>
                <c:pt idx="1181">
                  <c:v>41997</c:v>
                </c:pt>
                <c:pt idx="1182">
                  <c:v>41998</c:v>
                </c:pt>
                <c:pt idx="1183">
                  <c:v>41999</c:v>
                </c:pt>
                <c:pt idx="1184">
                  <c:v>42000</c:v>
                </c:pt>
                <c:pt idx="1185">
                  <c:v>42001</c:v>
                </c:pt>
                <c:pt idx="1186">
                  <c:v>42002</c:v>
                </c:pt>
                <c:pt idx="1187">
                  <c:v>42003</c:v>
                </c:pt>
                <c:pt idx="1188">
                  <c:v>42004</c:v>
                </c:pt>
                <c:pt idx="1189">
                  <c:v>42005</c:v>
                </c:pt>
                <c:pt idx="1190">
                  <c:v>42006</c:v>
                </c:pt>
                <c:pt idx="1191">
                  <c:v>42007</c:v>
                </c:pt>
                <c:pt idx="1192">
                  <c:v>42008</c:v>
                </c:pt>
                <c:pt idx="1193">
                  <c:v>42009</c:v>
                </c:pt>
                <c:pt idx="1194">
                  <c:v>42010</c:v>
                </c:pt>
                <c:pt idx="1195">
                  <c:v>42011</c:v>
                </c:pt>
                <c:pt idx="1196">
                  <c:v>42012</c:v>
                </c:pt>
                <c:pt idx="1197">
                  <c:v>42013</c:v>
                </c:pt>
                <c:pt idx="1198">
                  <c:v>42014</c:v>
                </c:pt>
                <c:pt idx="1199">
                  <c:v>42015</c:v>
                </c:pt>
                <c:pt idx="1200">
                  <c:v>42016</c:v>
                </c:pt>
                <c:pt idx="1201">
                  <c:v>42017</c:v>
                </c:pt>
                <c:pt idx="1202">
                  <c:v>42018</c:v>
                </c:pt>
                <c:pt idx="1203">
                  <c:v>42019</c:v>
                </c:pt>
                <c:pt idx="1204">
                  <c:v>42020</c:v>
                </c:pt>
                <c:pt idx="1205">
                  <c:v>42021</c:v>
                </c:pt>
                <c:pt idx="1206">
                  <c:v>42022</c:v>
                </c:pt>
                <c:pt idx="1207">
                  <c:v>42023</c:v>
                </c:pt>
                <c:pt idx="1208">
                  <c:v>42024</c:v>
                </c:pt>
                <c:pt idx="1209">
                  <c:v>42025</c:v>
                </c:pt>
                <c:pt idx="1210">
                  <c:v>42026</c:v>
                </c:pt>
                <c:pt idx="1211">
                  <c:v>42027</c:v>
                </c:pt>
                <c:pt idx="1212">
                  <c:v>42028</c:v>
                </c:pt>
                <c:pt idx="1213">
                  <c:v>42029</c:v>
                </c:pt>
                <c:pt idx="1214">
                  <c:v>42030</c:v>
                </c:pt>
                <c:pt idx="1215">
                  <c:v>42031</c:v>
                </c:pt>
                <c:pt idx="1216">
                  <c:v>42032</c:v>
                </c:pt>
                <c:pt idx="1217">
                  <c:v>42033</c:v>
                </c:pt>
                <c:pt idx="1218">
                  <c:v>42034</c:v>
                </c:pt>
                <c:pt idx="1219">
                  <c:v>42035</c:v>
                </c:pt>
                <c:pt idx="1220">
                  <c:v>42036</c:v>
                </c:pt>
                <c:pt idx="1221">
                  <c:v>42037</c:v>
                </c:pt>
                <c:pt idx="1222">
                  <c:v>42038</c:v>
                </c:pt>
                <c:pt idx="1223">
                  <c:v>42039</c:v>
                </c:pt>
                <c:pt idx="1224">
                  <c:v>42040</c:v>
                </c:pt>
                <c:pt idx="1225">
                  <c:v>42041</c:v>
                </c:pt>
                <c:pt idx="1226">
                  <c:v>42042</c:v>
                </c:pt>
                <c:pt idx="1227">
                  <c:v>42043</c:v>
                </c:pt>
                <c:pt idx="1228">
                  <c:v>42044</c:v>
                </c:pt>
                <c:pt idx="1229">
                  <c:v>42045</c:v>
                </c:pt>
                <c:pt idx="1230">
                  <c:v>42046</c:v>
                </c:pt>
                <c:pt idx="1231">
                  <c:v>42047</c:v>
                </c:pt>
                <c:pt idx="1232">
                  <c:v>42048</c:v>
                </c:pt>
                <c:pt idx="1233">
                  <c:v>42049</c:v>
                </c:pt>
                <c:pt idx="1234">
                  <c:v>42050</c:v>
                </c:pt>
                <c:pt idx="1235">
                  <c:v>42051</c:v>
                </c:pt>
                <c:pt idx="1236">
                  <c:v>42052</c:v>
                </c:pt>
                <c:pt idx="1237">
                  <c:v>42053</c:v>
                </c:pt>
                <c:pt idx="1238">
                  <c:v>42054</c:v>
                </c:pt>
                <c:pt idx="1239">
                  <c:v>42055</c:v>
                </c:pt>
                <c:pt idx="1240">
                  <c:v>42056</c:v>
                </c:pt>
                <c:pt idx="1241">
                  <c:v>42057</c:v>
                </c:pt>
                <c:pt idx="1242">
                  <c:v>42058</c:v>
                </c:pt>
                <c:pt idx="1243">
                  <c:v>42059</c:v>
                </c:pt>
                <c:pt idx="1244">
                  <c:v>42060</c:v>
                </c:pt>
                <c:pt idx="1245">
                  <c:v>42061</c:v>
                </c:pt>
                <c:pt idx="1246">
                  <c:v>42062</c:v>
                </c:pt>
                <c:pt idx="1247">
                  <c:v>42063</c:v>
                </c:pt>
                <c:pt idx="1248">
                  <c:v>42064</c:v>
                </c:pt>
                <c:pt idx="1249">
                  <c:v>42065</c:v>
                </c:pt>
                <c:pt idx="1250">
                  <c:v>42066</c:v>
                </c:pt>
                <c:pt idx="1251">
                  <c:v>42067</c:v>
                </c:pt>
                <c:pt idx="1252">
                  <c:v>42068</c:v>
                </c:pt>
                <c:pt idx="1253">
                  <c:v>42069</c:v>
                </c:pt>
                <c:pt idx="1254">
                  <c:v>42070</c:v>
                </c:pt>
                <c:pt idx="1255">
                  <c:v>42071</c:v>
                </c:pt>
                <c:pt idx="1256">
                  <c:v>42072</c:v>
                </c:pt>
                <c:pt idx="1257">
                  <c:v>42073</c:v>
                </c:pt>
                <c:pt idx="1258">
                  <c:v>42074</c:v>
                </c:pt>
                <c:pt idx="1259">
                  <c:v>42075</c:v>
                </c:pt>
                <c:pt idx="1260">
                  <c:v>42076</c:v>
                </c:pt>
                <c:pt idx="1261">
                  <c:v>42077</c:v>
                </c:pt>
                <c:pt idx="1262">
                  <c:v>42078</c:v>
                </c:pt>
                <c:pt idx="1263">
                  <c:v>42079</c:v>
                </c:pt>
                <c:pt idx="1264">
                  <c:v>42080</c:v>
                </c:pt>
                <c:pt idx="1265">
                  <c:v>42081</c:v>
                </c:pt>
                <c:pt idx="1266">
                  <c:v>42082</c:v>
                </c:pt>
                <c:pt idx="1267">
                  <c:v>42083</c:v>
                </c:pt>
                <c:pt idx="1268">
                  <c:v>42084</c:v>
                </c:pt>
                <c:pt idx="1269">
                  <c:v>42085</c:v>
                </c:pt>
                <c:pt idx="1270">
                  <c:v>42086</c:v>
                </c:pt>
                <c:pt idx="1271">
                  <c:v>42087</c:v>
                </c:pt>
                <c:pt idx="1272">
                  <c:v>42088</c:v>
                </c:pt>
                <c:pt idx="1273">
                  <c:v>42089</c:v>
                </c:pt>
                <c:pt idx="1274">
                  <c:v>42090</c:v>
                </c:pt>
                <c:pt idx="1275">
                  <c:v>42091</c:v>
                </c:pt>
                <c:pt idx="1276">
                  <c:v>42092</c:v>
                </c:pt>
                <c:pt idx="1277">
                  <c:v>42093</c:v>
                </c:pt>
                <c:pt idx="1278">
                  <c:v>42094</c:v>
                </c:pt>
                <c:pt idx="1279">
                  <c:v>42095</c:v>
                </c:pt>
                <c:pt idx="1280">
                  <c:v>42096</c:v>
                </c:pt>
                <c:pt idx="1281">
                  <c:v>42097</c:v>
                </c:pt>
                <c:pt idx="1282">
                  <c:v>42098</c:v>
                </c:pt>
                <c:pt idx="1283">
                  <c:v>42099</c:v>
                </c:pt>
                <c:pt idx="1284">
                  <c:v>42100</c:v>
                </c:pt>
                <c:pt idx="1285">
                  <c:v>42101</c:v>
                </c:pt>
                <c:pt idx="1286">
                  <c:v>42102</c:v>
                </c:pt>
                <c:pt idx="1287">
                  <c:v>42103</c:v>
                </c:pt>
                <c:pt idx="1288">
                  <c:v>42104</c:v>
                </c:pt>
                <c:pt idx="1289">
                  <c:v>42105</c:v>
                </c:pt>
                <c:pt idx="1290">
                  <c:v>42106</c:v>
                </c:pt>
                <c:pt idx="1291">
                  <c:v>42107</c:v>
                </c:pt>
                <c:pt idx="1292">
                  <c:v>42108</c:v>
                </c:pt>
                <c:pt idx="1293">
                  <c:v>42109</c:v>
                </c:pt>
                <c:pt idx="1294">
                  <c:v>42110</c:v>
                </c:pt>
                <c:pt idx="1295">
                  <c:v>42111</c:v>
                </c:pt>
                <c:pt idx="1296">
                  <c:v>42112</c:v>
                </c:pt>
                <c:pt idx="1297">
                  <c:v>42113</c:v>
                </c:pt>
                <c:pt idx="1298">
                  <c:v>42114</c:v>
                </c:pt>
                <c:pt idx="1299">
                  <c:v>42115</c:v>
                </c:pt>
                <c:pt idx="1300">
                  <c:v>42116</c:v>
                </c:pt>
                <c:pt idx="1301">
                  <c:v>42117</c:v>
                </c:pt>
                <c:pt idx="1302">
                  <c:v>42118</c:v>
                </c:pt>
                <c:pt idx="1303">
                  <c:v>42119</c:v>
                </c:pt>
                <c:pt idx="1304">
                  <c:v>42120</c:v>
                </c:pt>
                <c:pt idx="1305">
                  <c:v>42121</c:v>
                </c:pt>
                <c:pt idx="1306">
                  <c:v>42122</c:v>
                </c:pt>
                <c:pt idx="1307">
                  <c:v>42123</c:v>
                </c:pt>
                <c:pt idx="1308">
                  <c:v>42124</c:v>
                </c:pt>
                <c:pt idx="1309">
                  <c:v>42125</c:v>
                </c:pt>
                <c:pt idx="1310">
                  <c:v>42126</c:v>
                </c:pt>
                <c:pt idx="1311">
                  <c:v>42127</c:v>
                </c:pt>
                <c:pt idx="1312">
                  <c:v>42128</c:v>
                </c:pt>
                <c:pt idx="1313">
                  <c:v>42129</c:v>
                </c:pt>
                <c:pt idx="1314">
                  <c:v>42130</c:v>
                </c:pt>
                <c:pt idx="1315">
                  <c:v>42131</c:v>
                </c:pt>
                <c:pt idx="1316">
                  <c:v>42132</c:v>
                </c:pt>
                <c:pt idx="1317">
                  <c:v>42133</c:v>
                </c:pt>
                <c:pt idx="1318">
                  <c:v>42134</c:v>
                </c:pt>
                <c:pt idx="1319">
                  <c:v>42135</c:v>
                </c:pt>
                <c:pt idx="1320">
                  <c:v>42136</c:v>
                </c:pt>
                <c:pt idx="1321">
                  <c:v>42137</c:v>
                </c:pt>
                <c:pt idx="1322">
                  <c:v>42138</c:v>
                </c:pt>
                <c:pt idx="1323">
                  <c:v>42139</c:v>
                </c:pt>
                <c:pt idx="1324">
                  <c:v>42140</c:v>
                </c:pt>
                <c:pt idx="1325">
                  <c:v>42141</c:v>
                </c:pt>
                <c:pt idx="1326">
                  <c:v>42142</c:v>
                </c:pt>
                <c:pt idx="1327">
                  <c:v>42143</c:v>
                </c:pt>
                <c:pt idx="1328">
                  <c:v>42144</c:v>
                </c:pt>
                <c:pt idx="1329">
                  <c:v>42145</c:v>
                </c:pt>
                <c:pt idx="1330">
                  <c:v>42146</c:v>
                </c:pt>
                <c:pt idx="1331">
                  <c:v>42147</c:v>
                </c:pt>
                <c:pt idx="1332">
                  <c:v>42148</c:v>
                </c:pt>
                <c:pt idx="1333">
                  <c:v>42149</c:v>
                </c:pt>
                <c:pt idx="1334">
                  <c:v>42150</c:v>
                </c:pt>
                <c:pt idx="1335">
                  <c:v>42151</c:v>
                </c:pt>
                <c:pt idx="1336">
                  <c:v>42152</c:v>
                </c:pt>
                <c:pt idx="1337">
                  <c:v>42153</c:v>
                </c:pt>
                <c:pt idx="1338">
                  <c:v>42154</c:v>
                </c:pt>
                <c:pt idx="1339">
                  <c:v>42155</c:v>
                </c:pt>
                <c:pt idx="1340">
                  <c:v>42156</c:v>
                </c:pt>
                <c:pt idx="1341">
                  <c:v>42157</c:v>
                </c:pt>
                <c:pt idx="1342">
                  <c:v>42158</c:v>
                </c:pt>
                <c:pt idx="1343">
                  <c:v>42159</c:v>
                </c:pt>
                <c:pt idx="1344">
                  <c:v>42160</c:v>
                </c:pt>
                <c:pt idx="1345">
                  <c:v>42161</c:v>
                </c:pt>
                <c:pt idx="1346">
                  <c:v>42162</c:v>
                </c:pt>
                <c:pt idx="1347">
                  <c:v>42163</c:v>
                </c:pt>
                <c:pt idx="1348">
                  <c:v>42164</c:v>
                </c:pt>
                <c:pt idx="1349">
                  <c:v>42165</c:v>
                </c:pt>
                <c:pt idx="1350">
                  <c:v>42166</c:v>
                </c:pt>
                <c:pt idx="1351">
                  <c:v>42167</c:v>
                </c:pt>
                <c:pt idx="1352">
                  <c:v>42168</c:v>
                </c:pt>
                <c:pt idx="1353">
                  <c:v>42169</c:v>
                </c:pt>
                <c:pt idx="1354">
                  <c:v>42170</c:v>
                </c:pt>
                <c:pt idx="1355">
                  <c:v>42171</c:v>
                </c:pt>
                <c:pt idx="1356">
                  <c:v>42172</c:v>
                </c:pt>
                <c:pt idx="1357">
                  <c:v>42173</c:v>
                </c:pt>
                <c:pt idx="1358">
                  <c:v>42174</c:v>
                </c:pt>
                <c:pt idx="1359">
                  <c:v>42175</c:v>
                </c:pt>
                <c:pt idx="1360">
                  <c:v>42176</c:v>
                </c:pt>
                <c:pt idx="1361">
                  <c:v>42177</c:v>
                </c:pt>
                <c:pt idx="1362">
                  <c:v>42178</c:v>
                </c:pt>
                <c:pt idx="1363">
                  <c:v>42179</c:v>
                </c:pt>
                <c:pt idx="1364">
                  <c:v>42180</c:v>
                </c:pt>
                <c:pt idx="1365">
                  <c:v>42181</c:v>
                </c:pt>
                <c:pt idx="1366">
                  <c:v>42182</c:v>
                </c:pt>
                <c:pt idx="1367">
                  <c:v>42183</c:v>
                </c:pt>
                <c:pt idx="1368">
                  <c:v>42184</c:v>
                </c:pt>
                <c:pt idx="1369">
                  <c:v>42185</c:v>
                </c:pt>
                <c:pt idx="1370">
                  <c:v>42186</c:v>
                </c:pt>
                <c:pt idx="1371">
                  <c:v>42187</c:v>
                </c:pt>
                <c:pt idx="1372">
                  <c:v>42188</c:v>
                </c:pt>
                <c:pt idx="1373">
                  <c:v>42189</c:v>
                </c:pt>
                <c:pt idx="1374">
                  <c:v>42190</c:v>
                </c:pt>
                <c:pt idx="1375">
                  <c:v>42191</c:v>
                </c:pt>
                <c:pt idx="1376">
                  <c:v>42192</c:v>
                </c:pt>
                <c:pt idx="1377">
                  <c:v>42193</c:v>
                </c:pt>
                <c:pt idx="1378">
                  <c:v>42194</c:v>
                </c:pt>
                <c:pt idx="1379">
                  <c:v>42195</c:v>
                </c:pt>
                <c:pt idx="1380">
                  <c:v>42196</c:v>
                </c:pt>
                <c:pt idx="1381">
                  <c:v>42197</c:v>
                </c:pt>
                <c:pt idx="1382">
                  <c:v>42198</c:v>
                </c:pt>
                <c:pt idx="1383">
                  <c:v>42199</c:v>
                </c:pt>
                <c:pt idx="1384">
                  <c:v>42200</c:v>
                </c:pt>
                <c:pt idx="1385">
                  <c:v>42201</c:v>
                </c:pt>
                <c:pt idx="1386">
                  <c:v>42202</c:v>
                </c:pt>
                <c:pt idx="1387">
                  <c:v>42203</c:v>
                </c:pt>
                <c:pt idx="1388">
                  <c:v>42204</c:v>
                </c:pt>
                <c:pt idx="1389">
                  <c:v>42205</c:v>
                </c:pt>
                <c:pt idx="1390">
                  <c:v>42206</c:v>
                </c:pt>
                <c:pt idx="1391">
                  <c:v>42207</c:v>
                </c:pt>
                <c:pt idx="1392">
                  <c:v>42208</c:v>
                </c:pt>
                <c:pt idx="1393">
                  <c:v>42209</c:v>
                </c:pt>
                <c:pt idx="1394">
                  <c:v>42210</c:v>
                </c:pt>
                <c:pt idx="1395">
                  <c:v>42211</c:v>
                </c:pt>
                <c:pt idx="1396">
                  <c:v>42212</c:v>
                </c:pt>
                <c:pt idx="1397">
                  <c:v>42213</c:v>
                </c:pt>
                <c:pt idx="1398">
                  <c:v>42214</c:v>
                </c:pt>
                <c:pt idx="1399">
                  <c:v>42215</c:v>
                </c:pt>
                <c:pt idx="1400">
                  <c:v>42216</c:v>
                </c:pt>
                <c:pt idx="1401">
                  <c:v>42217</c:v>
                </c:pt>
                <c:pt idx="1402">
                  <c:v>42218</c:v>
                </c:pt>
                <c:pt idx="1403">
                  <c:v>42219</c:v>
                </c:pt>
                <c:pt idx="1404">
                  <c:v>42220</c:v>
                </c:pt>
                <c:pt idx="1405">
                  <c:v>42221</c:v>
                </c:pt>
                <c:pt idx="1406">
                  <c:v>42222</c:v>
                </c:pt>
                <c:pt idx="1407">
                  <c:v>42223</c:v>
                </c:pt>
                <c:pt idx="1408">
                  <c:v>42224</c:v>
                </c:pt>
                <c:pt idx="1409">
                  <c:v>42225</c:v>
                </c:pt>
                <c:pt idx="1410">
                  <c:v>42226</c:v>
                </c:pt>
                <c:pt idx="1411">
                  <c:v>42227</c:v>
                </c:pt>
                <c:pt idx="1412">
                  <c:v>42228</c:v>
                </c:pt>
                <c:pt idx="1413">
                  <c:v>42229</c:v>
                </c:pt>
                <c:pt idx="1414">
                  <c:v>42230</c:v>
                </c:pt>
                <c:pt idx="1415">
                  <c:v>42231</c:v>
                </c:pt>
                <c:pt idx="1416">
                  <c:v>42232</c:v>
                </c:pt>
                <c:pt idx="1417">
                  <c:v>42233</c:v>
                </c:pt>
                <c:pt idx="1418">
                  <c:v>42234</c:v>
                </c:pt>
                <c:pt idx="1419">
                  <c:v>42235</c:v>
                </c:pt>
                <c:pt idx="1420">
                  <c:v>42236</c:v>
                </c:pt>
                <c:pt idx="1421">
                  <c:v>42237</c:v>
                </c:pt>
                <c:pt idx="1422">
                  <c:v>42238</c:v>
                </c:pt>
                <c:pt idx="1423">
                  <c:v>42239</c:v>
                </c:pt>
                <c:pt idx="1424">
                  <c:v>42240</c:v>
                </c:pt>
                <c:pt idx="1425">
                  <c:v>42241</c:v>
                </c:pt>
                <c:pt idx="1426">
                  <c:v>42242</c:v>
                </c:pt>
                <c:pt idx="1427">
                  <c:v>42243</c:v>
                </c:pt>
                <c:pt idx="1428">
                  <c:v>42244</c:v>
                </c:pt>
                <c:pt idx="1429">
                  <c:v>42245</c:v>
                </c:pt>
                <c:pt idx="1430">
                  <c:v>42246</c:v>
                </c:pt>
                <c:pt idx="1431">
                  <c:v>42247</c:v>
                </c:pt>
                <c:pt idx="1432">
                  <c:v>42248</c:v>
                </c:pt>
                <c:pt idx="1433">
                  <c:v>42249</c:v>
                </c:pt>
                <c:pt idx="1434">
                  <c:v>42250</c:v>
                </c:pt>
                <c:pt idx="1435">
                  <c:v>42251</c:v>
                </c:pt>
                <c:pt idx="1436">
                  <c:v>42252</c:v>
                </c:pt>
                <c:pt idx="1437">
                  <c:v>42253</c:v>
                </c:pt>
                <c:pt idx="1438">
                  <c:v>42254</c:v>
                </c:pt>
                <c:pt idx="1439">
                  <c:v>42255</c:v>
                </c:pt>
                <c:pt idx="1440">
                  <c:v>42256</c:v>
                </c:pt>
                <c:pt idx="1441">
                  <c:v>42257</c:v>
                </c:pt>
                <c:pt idx="1442">
                  <c:v>42258</c:v>
                </c:pt>
                <c:pt idx="1443">
                  <c:v>42259</c:v>
                </c:pt>
                <c:pt idx="1444">
                  <c:v>42260</c:v>
                </c:pt>
                <c:pt idx="1445">
                  <c:v>42261</c:v>
                </c:pt>
                <c:pt idx="1446">
                  <c:v>42262</c:v>
                </c:pt>
                <c:pt idx="1447">
                  <c:v>42263</c:v>
                </c:pt>
                <c:pt idx="1448">
                  <c:v>42264</c:v>
                </c:pt>
                <c:pt idx="1449">
                  <c:v>42265</c:v>
                </c:pt>
                <c:pt idx="1450">
                  <c:v>42266</c:v>
                </c:pt>
                <c:pt idx="1451">
                  <c:v>42267</c:v>
                </c:pt>
                <c:pt idx="1452">
                  <c:v>42268</c:v>
                </c:pt>
                <c:pt idx="1453">
                  <c:v>42269</c:v>
                </c:pt>
                <c:pt idx="1454">
                  <c:v>42270</c:v>
                </c:pt>
                <c:pt idx="1455">
                  <c:v>42271</c:v>
                </c:pt>
                <c:pt idx="1456">
                  <c:v>42272</c:v>
                </c:pt>
                <c:pt idx="1457">
                  <c:v>42273</c:v>
                </c:pt>
                <c:pt idx="1458">
                  <c:v>42274</c:v>
                </c:pt>
                <c:pt idx="1459">
                  <c:v>42275</c:v>
                </c:pt>
                <c:pt idx="1460">
                  <c:v>42276</c:v>
                </c:pt>
                <c:pt idx="1461">
                  <c:v>42277</c:v>
                </c:pt>
                <c:pt idx="1462">
                  <c:v>42278</c:v>
                </c:pt>
                <c:pt idx="1463">
                  <c:v>42279</c:v>
                </c:pt>
                <c:pt idx="1464">
                  <c:v>42280</c:v>
                </c:pt>
                <c:pt idx="1465">
                  <c:v>42281</c:v>
                </c:pt>
                <c:pt idx="1466">
                  <c:v>42282</c:v>
                </c:pt>
                <c:pt idx="1467">
                  <c:v>42283</c:v>
                </c:pt>
                <c:pt idx="1468">
                  <c:v>42284</c:v>
                </c:pt>
                <c:pt idx="1469">
                  <c:v>42285</c:v>
                </c:pt>
                <c:pt idx="1470">
                  <c:v>42286</c:v>
                </c:pt>
                <c:pt idx="1471">
                  <c:v>42287</c:v>
                </c:pt>
                <c:pt idx="1472">
                  <c:v>42288</c:v>
                </c:pt>
                <c:pt idx="1473">
                  <c:v>42289</c:v>
                </c:pt>
                <c:pt idx="1474">
                  <c:v>42290</c:v>
                </c:pt>
                <c:pt idx="1475">
                  <c:v>42291</c:v>
                </c:pt>
                <c:pt idx="1476">
                  <c:v>42292</c:v>
                </c:pt>
                <c:pt idx="1477">
                  <c:v>42293</c:v>
                </c:pt>
                <c:pt idx="1478">
                  <c:v>42294</c:v>
                </c:pt>
                <c:pt idx="1479">
                  <c:v>42295</c:v>
                </c:pt>
                <c:pt idx="1480">
                  <c:v>42296</c:v>
                </c:pt>
                <c:pt idx="1481">
                  <c:v>42297</c:v>
                </c:pt>
                <c:pt idx="1482">
                  <c:v>42298</c:v>
                </c:pt>
                <c:pt idx="1483">
                  <c:v>42299</c:v>
                </c:pt>
                <c:pt idx="1484">
                  <c:v>42300</c:v>
                </c:pt>
                <c:pt idx="1485">
                  <c:v>42301</c:v>
                </c:pt>
                <c:pt idx="1486">
                  <c:v>42302</c:v>
                </c:pt>
                <c:pt idx="1487">
                  <c:v>42303</c:v>
                </c:pt>
                <c:pt idx="1488">
                  <c:v>42304</c:v>
                </c:pt>
                <c:pt idx="1489">
                  <c:v>42305</c:v>
                </c:pt>
                <c:pt idx="1490">
                  <c:v>42306</c:v>
                </c:pt>
                <c:pt idx="1491">
                  <c:v>42307</c:v>
                </c:pt>
                <c:pt idx="1492">
                  <c:v>42308</c:v>
                </c:pt>
                <c:pt idx="1493">
                  <c:v>42309</c:v>
                </c:pt>
                <c:pt idx="1494">
                  <c:v>42310</c:v>
                </c:pt>
                <c:pt idx="1495">
                  <c:v>42311</c:v>
                </c:pt>
                <c:pt idx="1496">
                  <c:v>42312</c:v>
                </c:pt>
                <c:pt idx="1497">
                  <c:v>42313</c:v>
                </c:pt>
                <c:pt idx="1498">
                  <c:v>42314</c:v>
                </c:pt>
                <c:pt idx="1499">
                  <c:v>42315</c:v>
                </c:pt>
                <c:pt idx="1500">
                  <c:v>42316</c:v>
                </c:pt>
                <c:pt idx="1501">
                  <c:v>42317</c:v>
                </c:pt>
                <c:pt idx="1502">
                  <c:v>42318</c:v>
                </c:pt>
                <c:pt idx="1503">
                  <c:v>42319</c:v>
                </c:pt>
                <c:pt idx="1504">
                  <c:v>42320</c:v>
                </c:pt>
                <c:pt idx="1505">
                  <c:v>42321</c:v>
                </c:pt>
                <c:pt idx="1506">
                  <c:v>42322</c:v>
                </c:pt>
                <c:pt idx="1507">
                  <c:v>42323</c:v>
                </c:pt>
                <c:pt idx="1508">
                  <c:v>42324</c:v>
                </c:pt>
                <c:pt idx="1509">
                  <c:v>42325</c:v>
                </c:pt>
                <c:pt idx="1510">
                  <c:v>42326</c:v>
                </c:pt>
                <c:pt idx="1511">
                  <c:v>42327</c:v>
                </c:pt>
                <c:pt idx="1512">
                  <c:v>42328</c:v>
                </c:pt>
                <c:pt idx="1513">
                  <c:v>42329</c:v>
                </c:pt>
                <c:pt idx="1514">
                  <c:v>42330</c:v>
                </c:pt>
                <c:pt idx="1515">
                  <c:v>42331</c:v>
                </c:pt>
                <c:pt idx="1516">
                  <c:v>42332</c:v>
                </c:pt>
                <c:pt idx="1517">
                  <c:v>42333</c:v>
                </c:pt>
                <c:pt idx="1518">
                  <c:v>42334</c:v>
                </c:pt>
                <c:pt idx="1519">
                  <c:v>42335</c:v>
                </c:pt>
                <c:pt idx="1520">
                  <c:v>42336</c:v>
                </c:pt>
                <c:pt idx="1521">
                  <c:v>42337</c:v>
                </c:pt>
                <c:pt idx="1522">
                  <c:v>42338</c:v>
                </c:pt>
                <c:pt idx="1523">
                  <c:v>42339</c:v>
                </c:pt>
                <c:pt idx="1524">
                  <c:v>42340</c:v>
                </c:pt>
                <c:pt idx="1525">
                  <c:v>42341</c:v>
                </c:pt>
                <c:pt idx="1526">
                  <c:v>42342</c:v>
                </c:pt>
                <c:pt idx="1527">
                  <c:v>42343</c:v>
                </c:pt>
                <c:pt idx="1528">
                  <c:v>42344</c:v>
                </c:pt>
                <c:pt idx="1529">
                  <c:v>42345</c:v>
                </c:pt>
                <c:pt idx="1530">
                  <c:v>42346</c:v>
                </c:pt>
                <c:pt idx="1531">
                  <c:v>42347</c:v>
                </c:pt>
                <c:pt idx="1532">
                  <c:v>42348</c:v>
                </c:pt>
                <c:pt idx="1533">
                  <c:v>42349</c:v>
                </c:pt>
                <c:pt idx="1534">
                  <c:v>42350</c:v>
                </c:pt>
                <c:pt idx="1535">
                  <c:v>42351</c:v>
                </c:pt>
                <c:pt idx="1536">
                  <c:v>42352</c:v>
                </c:pt>
                <c:pt idx="1537">
                  <c:v>42353</c:v>
                </c:pt>
                <c:pt idx="1538">
                  <c:v>42354</c:v>
                </c:pt>
                <c:pt idx="1539">
                  <c:v>42355</c:v>
                </c:pt>
                <c:pt idx="1540">
                  <c:v>42356</c:v>
                </c:pt>
                <c:pt idx="1541">
                  <c:v>42357</c:v>
                </c:pt>
                <c:pt idx="1542">
                  <c:v>42358</c:v>
                </c:pt>
                <c:pt idx="1543">
                  <c:v>42359</c:v>
                </c:pt>
                <c:pt idx="1544">
                  <c:v>42360</c:v>
                </c:pt>
                <c:pt idx="1545">
                  <c:v>42361</c:v>
                </c:pt>
                <c:pt idx="1546">
                  <c:v>42362</c:v>
                </c:pt>
                <c:pt idx="1547">
                  <c:v>42363</c:v>
                </c:pt>
                <c:pt idx="1548">
                  <c:v>42364</c:v>
                </c:pt>
                <c:pt idx="1549">
                  <c:v>42365</c:v>
                </c:pt>
                <c:pt idx="1550">
                  <c:v>42366</c:v>
                </c:pt>
                <c:pt idx="1551">
                  <c:v>42367</c:v>
                </c:pt>
                <c:pt idx="1552">
                  <c:v>42368</c:v>
                </c:pt>
                <c:pt idx="1553">
                  <c:v>42369</c:v>
                </c:pt>
                <c:pt idx="1554">
                  <c:v>42370</c:v>
                </c:pt>
                <c:pt idx="1555">
                  <c:v>42371</c:v>
                </c:pt>
                <c:pt idx="1556">
                  <c:v>42372</c:v>
                </c:pt>
                <c:pt idx="1557">
                  <c:v>42373</c:v>
                </c:pt>
                <c:pt idx="1558">
                  <c:v>42374</c:v>
                </c:pt>
                <c:pt idx="1559">
                  <c:v>42375</c:v>
                </c:pt>
                <c:pt idx="1560">
                  <c:v>42376</c:v>
                </c:pt>
                <c:pt idx="1561">
                  <c:v>42377</c:v>
                </c:pt>
                <c:pt idx="1562">
                  <c:v>42378</c:v>
                </c:pt>
                <c:pt idx="1563">
                  <c:v>42379</c:v>
                </c:pt>
                <c:pt idx="1564">
                  <c:v>42380</c:v>
                </c:pt>
                <c:pt idx="1565">
                  <c:v>42381</c:v>
                </c:pt>
                <c:pt idx="1566">
                  <c:v>42382</c:v>
                </c:pt>
                <c:pt idx="1567">
                  <c:v>42383</c:v>
                </c:pt>
                <c:pt idx="1568">
                  <c:v>42384</c:v>
                </c:pt>
                <c:pt idx="1569">
                  <c:v>42385</c:v>
                </c:pt>
                <c:pt idx="1570">
                  <c:v>42386</c:v>
                </c:pt>
                <c:pt idx="1571">
                  <c:v>42387</c:v>
                </c:pt>
                <c:pt idx="1572">
                  <c:v>42388</c:v>
                </c:pt>
                <c:pt idx="1573">
                  <c:v>42389</c:v>
                </c:pt>
                <c:pt idx="1574">
                  <c:v>42390</c:v>
                </c:pt>
                <c:pt idx="1575">
                  <c:v>42391</c:v>
                </c:pt>
                <c:pt idx="1576">
                  <c:v>42392</c:v>
                </c:pt>
                <c:pt idx="1577">
                  <c:v>42393</c:v>
                </c:pt>
                <c:pt idx="1578">
                  <c:v>42394</c:v>
                </c:pt>
                <c:pt idx="1579">
                  <c:v>42395</c:v>
                </c:pt>
                <c:pt idx="1580">
                  <c:v>42396</c:v>
                </c:pt>
                <c:pt idx="1581">
                  <c:v>42397</c:v>
                </c:pt>
                <c:pt idx="1582">
                  <c:v>42398</c:v>
                </c:pt>
                <c:pt idx="1583">
                  <c:v>42399</c:v>
                </c:pt>
                <c:pt idx="1584">
                  <c:v>42400</c:v>
                </c:pt>
                <c:pt idx="1585">
                  <c:v>42401</c:v>
                </c:pt>
                <c:pt idx="1586">
                  <c:v>42402</c:v>
                </c:pt>
                <c:pt idx="1587">
                  <c:v>42403</c:v>
                </c:pt>
                <c:pt idx="1588">
                  <c:v>42404</c:v>
                </c:pt>
                <c:pt idx="1589">
                  <c:v>42405</c:v>
                </c:pt>
                <c:pt idx="1590">
                  <c:v>42406</c:v>
                </c:pt>
                <c:pt idx="1591">
                  <c:v>42407</c:v>
                </c:pt>
                <c:pt idx="1592">
                  <c:v>42408</c:v>
                </c:pt>
                <c:pt idx="1593">
                  <c:v>42409</c:v>
                </c:pt>
                <c:pt idx="1594">
                  <c:v>42410</c:v>
                </c:pt>
                <c:pt idx="1595">
                  <c:v>42411</c:v>
                </c:pt>
                <c:pt idx="1596">
                  <c:v>42412</c:v>
                </c:pt>
                <c:pt idx="1597">
                  <c:v>42413</c:v>
                </c:pt>
                <c:pt idx="1598">
                  <c:v>42414</c:v>
                </c:pt>
                <c:pt idx="1599">
                  <c:v>42415</c:v>
                </c:pt>
                <c:pt idx="1600">
                  <c:v>42416</c:v>
                </c:pt>
                <c:pt idx="1601">
                  <c:v>42417</c:v>
                </c:pt>
                <c:pt idx="1602">
                  <c:v>42418</c:v>
                </c:pt>
                <c:pt idx="1603">
                  <c:v>42419</c:v>
                </c:pt>
                <c:pt idx="1604">
                  <c:v>42420</c:v>
                </c:pt>
                <c:pt idx="1605">
                  <c:v>42421</c:v>
                </c:pt>
                <c:pt idx="1606">
                  <c:v>42422</c:v>
                </c:pt>
                <c:pt idx="1607">
                  <c:v>42423</c:v>
                </c:pt>
                <c:pt idx="1608">
                  <c:v>42424</c:v>
                </c:pt>
                <c:pt idx="1609">
                  <c:v>42425</c:v>
                </c:pt>
                <c:pt idx="1610">
                  <c:v>42426</c:v>
                </c:pt>
                <c:pt idx="1611">
                  <c:v>42427</c:v>
                </c:pt>
                <c:pt idx="1612">
                  <c:v>42428</c:v>
                </c:pt>
                <c:pt idx="1613">
                  <c:v>42429</c:v>
                </c:pt>
                <c:pt idx="1614">
                  <c:v>42430</c:v>
                </c:pt>
                <c:pt idx="1615">
                  <c:v>42431</c:v>
                </c:pt>
                <c:pt idx="1616">
                  <c:v>42432</c:v>
                </c:pt>
                <c:pt idx="1617">
                  <c:v>42433</c:v>
                </c:pt>
                <c:pt idx="1618">
                  <c:v>42434</c:v>
                </c:pt>
                <c:pt idx="1619">
                  <c:v>42435</c:v>
                </c:pt>
                <c:pt idx="1620">
                  <c:v>42436</c:v>
                </c:pt>
                <c:pt idx="1621">
                  <c:v>42437</c:v>
                </c:pt>
                <c:pt idx="1622">
                  <c:v>42438</c:v>
                </c:pt>
                <c:pt idx="1623">
                  <c:v>42439</c:v>
                </c:pt>
                <c:pt idx="1624">
                  <c:v>42440</c:v>
                </c:pt>
                <c:pt idx="1625">
                  <c:v>42441</c:v>
                </c:pt>
                <c:pt idx="1626">
                  <c:v>42442</c:v>
                </c:pt>
                <c:pt idx="1627">
                  <c:v>42443</c:v>
                </c:pt>
                <c:pt idx="1628">
                  <c:v>42444</c:v>
                </c:pt>
                <c:pt idx="1629">
                  <c:v>42445</c:v>
                </c:pt>
                <c:pt idx="1630">
                  <c:v>42446</c:v>
                </c:pt>
                <c:pt idx="1631">
                  <c:v>42447</c:v>
                </c:pt>
                <c:pt idx="1632">
                  <c:v>42448</c:v>
                </c:pt>
                <c:pt idx="1633">
                  <c:v>42449</c:v>
                </c:pt>
                <c:pt idx="1634">
                  <c:v>42450</c:v>
                </c:pt>
                <c:pt idx="1635">
                  <c:v>42451</c:v>
                </c:pt>
                <c:pt idx="1636">
                  <c:v>42452</c:v>
                </c:pt>
                <c:pt idx="1637">
                  <c:v>42453</c:v>
                </c:pt>
                <c:pt idx="1638">
                  <c:v>42454</c:v>
                </c:pt>
                <c:pt idx="1639">
                  <c:v>42455</c:v>
                </c:pt>
                <c:pt idx="1640">
                  <c:v>42456</c:v>
                </c:pt>
                <c:pt idx="1641">
                  <c:v>42457</c:v>
                </c:pt>
                <c:pt idx="1642">
                  <c:v>42458</c:v>
                </c:pt>
                <c:pt idx="1643">
                  <c:v>42459</c:v>
                </c:pt>
                <c:pt idx="1644">
                  <c:v>42460</c:v>
                </c:pt>
                <c:pt idx="1645">
                  <c:v>42461</c:v>
                </c:pt>
                <c:pt idx="1646">
                  <c:v>42462</c:v>
                </c:pt>
                <c:pt idx="1647">
                  <c:v>42463</c:v>
                </c:pt>
                <c:pt idx="1648">
                  <c:v>42464</c:v>
                </c:pt>
                <c:pt idx="1649">
                  <c:v>42465</c:v>
                </c:pt>
                <c:pt idx="1650">
                  <c:v>42466</c:v>
                </c:pt>
                <c:pt idx="1651">
                  <c:v>42467</c:v>
                </c:pt>
                <c:pt idx="1652">
                  <c:v>42468</c:v>
                </c:pt>
                <c:pt idx="1653">
                  <c:v>42469</c:v>
                </c:pt>
                <c:pt idx="1654">
                  <c:v>42470</c:v>
                </c:pt>
                <c:pt idx="1655">
                  <c:v>42471</c:v>
                </c:pt>
                <c:pt idx="1656">
                  <c:v>42472</c:v>
                </c:pt>
                <c:pt idx="1657">
                  <c:v>42473</c:v>
                </c:pt>
                <c:pt idx="1658">
                  <c:v>42474</c:v>
                </c:pt>
                <c:pt idx="1659">
                  <c:v>42475</c:v>
                </c:pt>
                <c:pt idx="1660">
                  <c:v>42476</c:v>
                </c:pt>
                <c:pt idx="1661">
                  <c:v>42477</c:v>
                </c:pt>
                <c:pt idx="1662">
                  <c:v>42478</c:v>
                </c:pt>
                <c:pt idx="1663">
                  <c:v>42479</c:v>
                </c:pt>
                <c:pt idx="1664">
                  <c:v>42480</c:v>
                </c:pt>
                <c:pt idx="1665">
                  <c:v>42481</c:v>
                </c:pt>
                <c:pt idx="1666">
                  <c:v>42482</c:v>
                </c:pt>
                <c:pt idx="1667">
                  <c:v>42483</c:v>
                </c:pt>
                <c:pt idx="1668">
                  <c:v>42484</c:v>
                </c:pt>
                <c:pt idx="1669">
                  <c:v>42485</c:v>
                </c:pt>
                <c:pt idx="1670">
                  <c:v>42486</c:v>
                </c:pt>
                <c:pt idx="1671">
                  <c:v>42487</c:v>
                </c:pt>
                <c:pt idx="1672">
                  <c:v>42488</c:v>
                </c:pt>
                <c:pt idx="1673">
                  <c:v>42489</c:v>
                </c:pt>
                <c:pt idx="1674">
                  <c:v>42490</c:v>
                </c:pt>
                <c:pt idx="1675">
                  <c:v>42491</c:v>
                </c:pt>
                <c:pt idx="1676">
                  <c:v>42492</c:v>
                </c:pt>
                <c:pt idx="1677">
                  <c:v>42493</c:v>
                </c:pt>
                <c:pt idx="1678">
                  <c:v>42494</c:v>
                </c:pt>
                <c:pt idx="1679">
                  <c:v>42495</c:v>
                </c:pt>
                <c:pt idx="1680">
                  <c:v>42496</c:v>
                </c:pt>
                <c:pt idx="1681">
                  <c:v>42497</c:v>
                </c:pt>
                <c:pt idx="1682">
                  <c:v>42498</c:v>
                </c:pt>
                <c:pt idx="1683">
                  <c:v>42499</c:v>
                </c:pt>
                <c:pt idx="1684">
                  <c:v>42500</c:v>
                </c:pt>
                <c:pt idx="1685">
                  <c:v>42501</c:v>
                </c:pt>
                <c:pt idx="1686">
                  <c:v>42502</c:v>
                </c:pt>
                <c:pt idx="1687">
                  <c:v>42503</c:v>
                </c:pt>
                <c:pt idx="1688">
                  <c:v>42504</c:v>
                </c:pt>
                <c:pt idx="1689">
                  <c:v>42505</c:v>
                </c:pt>
                <c:pt idx="1690">
                  <c:v>42506</c:v>
                </c:pt>
                <c:pt idx="1691">
                  <c:v>42507</c:v>
                </c:pt>
                <c:pt idx="1692">
                  <c:v>42508</c:v>
                </c:pt>
                <c:pt idx="1693">
                  <c:v>42509</c:v>
                </c:pt>
                <c:pt idx="1694">
                  <c:v>42510</c:v>
                </c:pt>
                <c:pt idx="1695">
                  <c:v>42511</c:v>
                </c:pt>
                <c:pt idx="1696">
                  <c:v>42512</c:v>
                </c:pt>
                <c:pt idx="1697">
                  <c:v>42513</c:v>
                </c:pt>
                <c:pt idx="1698">
                  <c:v>42514</c:v>
                </c:pt>
                <c:pt idx="1699">
                  <c:v>42515</c:v>
                </c:pt>
                <c:pt idx="1700">
                  <c:v>42516</c:v>
                </c:pt>
                <c:pt idx="1701">
                  <c:v>42517</c:v>
                </c:pt>
                <c:pt idx="1702">
                  <c:v>42518</c:v>
                </c:pt>
                <c:pt idx="1703">
                  <c:v>42519</c:v>
                </c:pt>
                <c:pt idx="1704">
                  <c:v>42520</c:v>
                </c:pt>
                <c:pt idx="1705">
                  <c:v>42521</c:v>
                </c:pt>
                <c:pt idx="1706">
                  <c:v>42522</c:v>
                </c:pt>
                <c:pt idx="1707">
                  <c:v>42523</c:v>
                </c:pt>
                <c:pt idx="1708">
                  <c:v>42524</c:v>
                </c:pt>
                <c:pt idx="1709">
                  <c:v>42525</c:v>
                </c:pt>
                <c:pt idx="1710">
                  <c:v>42526</c:v>
                </c:pt>
                <c:pt idx="1711">
                  <c:v>42527</c:v>
                </c:pt>
                <c:pt idx="1712">
                  <c:v>42528</c:v>
                </c:pt>
                <c:pt idx="1713">
                  <c:v>42529</c:v>
                </c:pt>
                <c:pt idx="1714">
                  <c:v>42530</c:v>
                </c:pt>
                <c:pt idx="1715">
                  <c:v>42531</c:v>
                </c:pt>
                <c:pt idx="1716">
                  <c:v>42532</c:v>
                </c:pt>
                <c:pt idx="1717">
                  <c:v>42533</c:v>
                </c:pt>
                <c:pt idx="1718">
                  <c:v>42534</c:v>
                </c:pt>
                <c:pt idx="1719">
                  <c:v>42535</c:v>
                </c:pt>
                <c:pt idx="1720">
                  <c:v>42536</c:v>
                </c:pt>
                <c:pt idx="1721">
                  <c:v>42537</c:v>
                </c:pt>
                <c:pt idx="1722">
                  <c:v>42538</c:v>
                </c:pt>
                <c:pt idx="1723">
                  <c:v>42539</c:v>
                </c:pt>
                <c:pt idx="1724">
                  <c:v>42540</c:v>
                </c:pt>
                <c:pt idx="1725">
                  <c:v>42541</c:v>
                </c:pt>
                <c:pt idx="1726">
                  <c:v>42542</c:v>
                </c:pt>
                <c:pt idx="1727">
                  <c:v>42543</c:v>
                </c:pt>
                <c:pt idx="1728">
                  <c:v>42544</c:v>
                </c:pt>
                <c:pt idx="1729">
                  <c:v>42545</c:v>
                </c:pt>
                <c:pt idx="1730">
                  <c:v>42546</c:v>
                </c:pt>
                <c:pt idx="1731">
                  <c:v>42547</c:v>
                </c:pt>
                <c:pt idx="1732">
                  <c:v>42548</c:v>
                </c:pt>
                <c:pt idx="1733">
                  <c:v>42549</c:v>
                </c:pt>
                <c:pt idx="1734">
                  <c:v>42550</c:v>
                </c:pt>
                <c:pt idx="1735">
                  <c:v>42551</c:v>
                </c:pt>
                <c:pt idx="1736">
                  <c:v>42552</c:v>
                </c:pt>
                <c:pt idx="1737">
                  <c:v>42553</c:v>
                </c:pt>
                <c:pt idx="1738">
                  <c:v>42554</c:v>
                </c:pt>
                <c:pt idx="1739">
                  <c:v>42555</c:v>
                </c:pt>
                <c:pt idx="1740">
                  <c:v>42556</c:v>
                </c:pt>
                <c:pt idx="1741">
                  <c:v>42557</c:v>
                </c:pt>
                <c:pt idx="1742">
                  <c:v>42558</c:v>
                </c:pt>
                <c:pt idx="1743">
                  <c:v>42559</c:v>
                </c:pt>
                <c:pt idx="1744">
                  <c:v>42560</c:v>
                </c:pt>
                <c:pt idx="1745">
                  <c:v>42561</c:v>
                </c:pt>
                <c:pt idx="1746">
                  <c:v>42562</c:v>
                </c:pt>
                <c:pt idx="1747">
                  <c:v>42563</c:v>
                </c:pt>
                <c:pt idx="1748">
                  <c:v>42564</c:v>
                </c:pt>
                <c:pt idx="1749">
                  <c:v>42565</c:v>
                </c:pt>
                <c:pt idx="1750">
                  <c:v>42566</c:v>
                </c:pt>
                <c:pt idx="1751">
                  <c:v>42567</c:v>
                </c:pt>
                <c:pt idx="1752">
                  <c:v>42568</c:v>
                </c:pt>
                <c:pt idx="1753">
                  <c:v>42569</c:v>
                </c:pt>
                <c:pt idx="1754">
                  <c:v>42570</c:v>
                </c:pt>
                <c:pt idx="1755">
                  <c:v>42571</c:v>
                </c:pt>
                <c:pt idx="1756">
                  <c:v>42572</c:v>
                </c:pt>
                <c:pt idx="1757">
                  <c:v>42573</c:v>
                </c:pt>
                <c:pt idx="1758">
                  <c:v>42574</c:v>
                </c:pt>
                <c:pt idx="1759">
                  <c:v>42575</c:v>
                </c:pt>
                <c:pt idx="1760">
                  <c:v>42576</c:v>
                </c:pt>
                <c:pt idx="1761">
                  <c:v>42577</c:v>
                </c:pt>
                <c:pt idx="1762">
                  <c:v>42578</c:v>
                </c:pt>
                <c:pt idx="1763">
                  <c:v>42579</c:v>
                </c:pt>
                <c:pt idx="1764">
                  <c:v>42580</c:v>
                </c:pt>
                <c:pt idx="1765">
                  <c:v>42581</c:v>
                </c:pt>
                <c:pt idx="1766">
                  <c:v>42582</c:v>
                </c:pt>
                <c:pt idx="1767">
                  <c:v>42583</c:v>
                </c:pt>
                <c:pt idx="1768">
                  <c:v>42584</c:v>
                </c:pt>
                <c:pt idx="1769">
                  <c:v>42585</c:v>
                </c:pt>
                <c:pt idx="1770">
                  <c:v>42586</c:v>
                </c:pt>
                <c:pt idx="1771">
                  <c:v>42587</c:v>
                </c:pt>
                <c:pt idx="1772">
                  <c:v>42588</c:v>
                </c:pt>
                <c:pt idx="1773">
                  <c:v>42589</c:v>
                </c:pt>
                <c:pt idx="1774">
                  <c:v>42590</c:v>
                </c:pt>
                <c:pt idx="1775">
                  <c:v>42591</c:v>
                </c:pt>
                <c:pt idx="1776">
                  <c:v>42592</c:v>
                </c:pt>
                <c:pt idx="1777">
                  <c:v>42593</c:v>
                </c:pt>
                <c:pt idx="1778">
                  <c:v>42594</c:v>
                </c:pt>
                <c:pt idx="1779">
                  <c:v>42595</c:v>
                </c:pt>
                <c:pt idx="1780">
                  <c:v>42596</c:v>
                </c:pt>
                <c:pt idx="1781">
                  <c:v>42597</c:v>
                </c:pt>
                <c:pt idx="1782">
                  <c:v>42598</c:v>
                </c:pt>
                <c:pt idx="1783">
                  <c:v>42599</c:v>
                </c:pt>
                <c:pt idx="1784">
                  <c:v>42600</c:v>
                </c:pt>
                <c:pt idx="1785">
                  <c:v>42601</c:v>
                </c:pt>
                <c:pt idx="1786">
                  <c:v>42602</c:v>
                </c:pt>
                <c:pt idx="1787">
                  <c:v>42603</c:v>
                </c:pt>
                <c:pt idx="1788">
                  <c:v>42604</c:v>
                </c:pt>
                <c:pt idx="1789">
                  <c:v>42605</c:v>
                </c:pt>
                <c:pt idx="1790">
                  <c:v>42606</c:v>
                </c:pt>
                <c:pt idx="1791">
                  <c:v>42607</c:v>
                </c:pt>
                <c:pt idx="1792">
                  <c:v>42608</c:v>
                </c:pt>
                <c:pt idx="1793">
                  <c:v>42609</c:v>
                </c:pt>
                <c:pt idx="1794">
                  <c:v>42610</c:v>
                </c:pt>
                <c:pt idx="1795">
                  <c:v>42611</c:v>
                </c:pt>
                <c:pt idx="1796">
                  <c:v>42612</c:v>
                </c:pt>
                <c:pt idx="1797">
                  <c:v>42613</c:v>
                </c:pt>
                <c:pt idx="1798">
                  <c:v>42614</c:v>
                </c:pt>
                <c:pt idx="1799">
                  <c:v>42615</c:v>
                </c:pt>
                <c:pt idx="1800">
                  <c:v>42616</c:v>
                </c:pt>
                <c:pt idx="1801">
                  <c:v>42617</c:v>
                </c:pt>
                <c:pt idx="1802">
                  <c:v>42618</c:v>
                </c:pt>
                <c:pt idx="1803">
                  <c:v>42619</c:v>
                </c:pt>
                <c:pt idx="1804">
                  <c:v>42620</c:v>
                </c:pt>
                <c:pt idx="1805">
                  <c:v>42621</c:v>
                </c:pt>
                <c:pt idx="1806">
                  <c:v>42622</c:v>
                </c:pt>
                <c:pt idx="1807">
                  <c:v>42623</c:v>
                </c:pt>
                <c:pt idx="1808">
                  <c:v>42624</c:v>
                </c:pt>
                <c:pt idx="1809">
                  <c:v>42625</c:v>
                </c:pt>
                <c:pt idx="1810">
                  <c:v>42626</c:v>
                </c:pt>
                <c:pt idx="1811">
                  <c:v>42627</c:v>
                </c:pt>
                <c:pt idx="1812">
                  <c:v>42628</c:v>
                </c:pt>
                <c:pt idx="1813">
                  <c:v>42629</c:v>
                </c:pt>
                <c:pt idx="1814">
                  <c:v>42630</c:v>
                </c:pt>
                <c:pt idx="1815">
                  <c:v>42631</c:v>
                </c:pt>
                <c:pt idx="1816">
                  <c:v>42632</c:v>
                </c:pt>
                <c:pt idx="1817">
                  <c:v>42633</c:v>
                </c:pt>
                <c:pt idx="1818">
                  <c:v>42634</c:v>
                </c:pt>
                <c:pt idx="1819">
                  <c:v>42635</c:v>
                </c:pt>
                <c:pt idx="1820">
                  <c:v>42636</c:v>
                </c:pt>
                <c:pt idx="1821">
                  <c:v>42637</c:v>
                </c:pt>
                <c:pt idx="1822">
                  <c:v>42638</c:v>
                </c:pt>
                <c:pt idx="1823">
                  <c:v>42639</c:v>
                </c:pt>
                <c:pt idx="1824">
                  <c:v>42640</c:v>
                </c:pt>
                <c:pt idx="1825">
                  <c:v>42641</c:v>
                </c:pt>
                <c:pt idx="1826">
                  <c:v>42642</c:v>
                </c:pt>
                <c:pt idx="1827">
                  <c:v>42643</c:v>
                </c:pt>
                <c:pt idx="1828">
                  <c:v>42644</c:v>
                </c:pt>
                <c:pt idx="1829">
                  <c:v>42645</c:v>
                </c:pt>
                <c:pt idx="1830">
                  <c:v>42646</c:v>
                </c:pt>
                <c:pt idx="1831">
                  <c:v>42647</c:v>
                </c:pt>
                <c:pt idx="1832">
                  <c:v>42648</c:v>
                </c:pt>
                <c:pt idx="1833">
                  <c:v>42649</c:v>
                </c:pt>
                <c:pt idx="1834">
                  <c:v>42650</c:v>
                </c:pt>
                <c:pt idx="1835">
                  <c:v>42651</c:v>
                </c:pt>
                <c:pt idx="1836">
                  <c:v>42652</c:v>
                </c:pt>
                <c:pt idx="1837">
                  <c:v>42653</c:v>
                </c:pt>
                <c:pt idx="1838">
                  <c:v>42654</c:v>
                </c:pt>
                <c:pt idx="1839">
                  <c:v>42655</c:v>
                </c:pt>
                <c:pt idx="1840">
                  <c:v>42656</c:v>
                </c:pt>
                <c:pt idx="1841">
                  <c:v>42657</c:v>
                </c:pt>
                <c:pt idx="1842">
                  <c:v>42658</c:v>
                </c:pt>
                <c:pt idx="1843">
                  <c:v>42659</c:v>
                </c:pt>
                <c:pt idx="1844">
                  <c:v>42660</c:v>
                </c:pt>
                <c:pt idx="1845">
                  <c:v>42661</c:v>
                </c:pt>
                <c:pt idx="1846">
                  <c:v>42662</c:v>
                </c:pt>
                <c:pt idx="1847">
                  <c:v>42663</c:v>
                </c:pt>
                <c:pt idx="1848">
                  <c:v>42664</c:v>
                </c:pt>
                <c:pt idx="1849">
                  <c:v>42665</c:v>
                </c:pt>
                <c:pt idx="1850">
                  <c:v>42666</c:v>
                </c:pt>
                <c:pt idx="1851">
                  <c:v>42667</c:v>
                </c:pt>
                <c:pt idx="1852">
                  <c:v>42668</c:v>
                </c:pt>
                <c:pt idx="1853">
                  <c:v>42669</c:v>
                </c:pt>
                <c:pt idx="1854">
                  <c:v>42670</c:v>
                </c:pt>
                <c:pt idx="1855">
                  <c:v>42671</c:v>
                </c:pt>
                <c:pt idx="1856">
                  <c:v>42672</c:v>
                </c:pt>
                <c:pt idx="1857">
                  <c:v>42673</c:v>
                </c:pt>
                <c:pt idx="1858">
                  <c:v>42674</c:v>
                </c:pt>
                <c:pt idx="1859">
                  <c:v>42675</c:v>
                </c:pt>
                <c:pt idx="1860">
                  <c:v>42676</c:v>
                </c:pt>
                <c:pt idx="1861">
                  <c:v>42677</c:v>
                </c:pt>
                <c:pt idx="1862">
                  <c:v>42678</c:v>
                </c:pt>
                <c:pt idx="1863">
                  <c:v>42679</c:v>
                </c:pt>
                <c:pt idx="1864">
                  <c:v>42680</c:v>
                </c:pt>
                <c:pt idx="1865">
                  <c:v>42681</c:v>
                </c:pt>
                <c:pt idx="1866">
                  <c:v>42682</c:v>
                </c:pt>
                <c:pt idx="1867">
                  <c:v>42683</c:v>
                </c:pt>
                <c:pt idx="1868">
                  <c:v>42684</c:v>
                </c:pt>
                <c:pt idx="1869">
                  <c:v>42685</c:v>
                </c:pt>
                <c:pt idx="1870">
                  <c:v>42686</c:v>
                </c:pt>
                <c:pt idx="1871">
                  <c:v>42687</c:v>
                </c:pt>
                <c:pt idx="1872">
                  <c:v>42688</c:v>
                </c:pt>
                <c:pt idx="1873">
                  <c:v>42689</c:v>
                </c:pt>
                <c:pt idx="1874">
                  <c:v>42690</c:v>
                </c:pt>
                <c:pt idx="1875">
                  <c:v>42691</c:v>
                </c:pt>
                <c:pt idx="1876">
                  <c:v>42692</c:v>
                </c:pt>
                <c:pt idx="1877">
                  <c:v>42693</c:v>
                </c:pt>
                <c:pt idx="1878">
                  <c:v>42694</c:v>
                </c:pt>
                <c:pt idx="1879">
                  <c:v>42695</c:v>
                </c:pt>
                <c:pt idx="1880">
                  <c:v>42696</c:v>
                </c:pt>
                <c:pt idx="1881">
                  <c:v>42697</c:v>
                </c:pt>
                <c:pt idx="1882">
                  <c:v>42698</c:v>
                </c:pt>
                <c:pt idx="1883">
                  <c:v>42699</c:v>
                </c:pt>
                <c:pt idx="1884">
                  <c:v>42700</c:v>
                </c:pt>
                <c:pt idx="1885">
                  <c:v>42701</c:v>
                </c:pt>
                <c:pt idx="1886">
                  <c:v>42702</c:v>
                </c:pt>
                <c:pt idx="1887">
                  <c:v>42703</c:v>
                </c:pt>
                <c:pt idx="1888">
                  <c:v>42704</c:v>
                </c:pt>
                <c:pt idx="1889">
                  <c:v>42705</c:v>
                </c:pt>
                <c:pt idx="1890">
                  <c:v>42706</c:v>
                </c:pt>
                <c:pt idx="1891">
                  <c:v>42707</c:v>
                </c:pt>
                <c:pt idx="1892">
                  <c:v>42708</c:v>
                </c:pt>
                <c:pt idx="1893">
                  <c:v>42709</c:v>
                </c:pt>
                <c:pt idx="1894">
                  <c:v>42710</c:v>
                </c:pt>
                <c:pt idx="1895">
                  <c:v>42711</c:v>
                </c:pt>
                <c:pt idx="1896">
                  <c:v>42712</c:v>
                </c:pt>
                <c:pt idx="1897">
                  <c:v>42713</c:v>
                </c:pt>
                <c:pt idx="1898">
                  <c:v>42714</c:v>
                </c:pt>
                <c:pt idx="1899">
                  <c:v>42715</c:v>
                </c:pt>
                <c:pt idx="1900">
                  <c:v>42716</c:v>
                </c:pt>
                <c:pt idx="1901">
                  <c:v>42717</c:v>
                </c:pt>
                <c:pt idx="1902">
                  <c:v>42718</c:v>
                </c:pt>
                <c:pt idx="1903">
                  <c:v>42719</c:v>
                </c:pt>
                <c:pt idx="1904">
                  <c:v>42720</c:v>
                </c:pt>
                <c:pt idx="1905">
                  <c:v>42721</c:v>
                </c:pt>
                <c:pt idx="1906">
                  <c:v>42722</c:v>
                </c:pt>
                <c:pt idx="1907">
                  <c:v>42723</c:v>
                </c:pt>
                <c:pt idx="1908">
                  <c:v>42724</c:v>
                </c:pt>
                <c:pt idx="1909">
                  <c:v>42725</c:v>
                </c:pt>
                <c:pt idx="1910">
                  <c:v>42726</c:v>
                </c:pt>
                <c:pt idx="1911">
                  <c:v>42727</c:v>
                </c:pt>
                <c:pt idx="1912">
                  <c:v>42728</c:v>
                </c:pt>
                <c:pt idx="1913">
                  <c:v>42729</c:v>
                </c:pt>
                <c:pt idx="1914">
                  <c:v>42730</c:v>
                </c:pt>
                <c:pt idx="1915">
                  <c:v>42731</c:v>
                </c:pt>
                <c:pt idx="1916">
                  <c:v>42732</c:v>
                </c:pt>
                <c:pt idx="1917">
                  <c:v>42733</c:v>
                </c:pt>
                <c:pt idx="1918">
                  <c:v>42734</c:v>
                </c:pt>
                <c:pt idx="1919">
                  <c:v>42735</c:v>
                </c:pt>
                <c:pt idx="1920">
                  <c:v>42736</c:v>
                </c:pt>
                <c:pt idx="1921">
                  <c:v>42737</c:v>
                </c:pt>
                <c:pt idx="1922">
                  <c:v>42738</c:v>
                </c:pt>
                <c:pt idx="1923">
                  <c:v>42739</c:v>
                </c:pt>
                <c:pt idx="1924">
                  <c:v>42740</c:v>
                </c:pt>
                <c:pt idx="1925">
                  <c:v>42741</c:v>
                </c:pt>
                <c:pt idx="1926">
                  <c:v>42742</c:v>
                </c:pt>
                <c:pt idx="1927">
                  <c:v>42743</c:v>
                </c:pt>
                <c:pt idx="1928">
                  <c:v>42744</c:v>
                </c:pt>
                <c:pt idx="1929">
                  <c:v>42745</c:v>
                </c:pt>
                <c:pt idx="1930">
                  <c:v>42746</c:v>
                </c:pt>
                <c:pt idx="1931">
                  <c:v>42747</c:v>
                </c:pt>
                <c:pt idx="1932">
                  <c:v>42748</c:v>
                </c:pt>
                <c:pt idx="1933">
                  <c:v>42749</c:v>
                </c:pt>
                <c:pt idx="1934">
                  <c:v>42750</c:v>
                </c:pt>
                <c:pt idx="1935">
                  <c:v>42751</c:v>
                </c:pt>
                <c:pt idx="1936">
                  <c:v>42752</c:v>
                </c:pt>
                <c:pt idx="1937">
                  <c:v>42753</c:v>
                </c:pt>
                <c:pt idx="1938">
                  <c:v>42754</c:v>
                </c:pt>
                <c:pt idx="1939">
                  <c:v>42755</c:v>
                </c:pt>
                <c:pt idx="1940">
                  <c:v>42756</c:v>
                </c:pt>
                <c:pt idx="1941">
                  <c:v>42757</c:v>
                </c:pt>
                <c:pt idx="1942">
                  <c:v>42758</c:v>
                </c:pt>
                <c:pt idx="1943">
                  <c:v>42759</c:v>
                </c:pt>
                <c:pt idx="1944">
                  <c:v>42760</c:v>
                </c:pt>
                <c:pt idx="1945">
                  <c:v>42761</c:v>
                </c:pt>
                <c:pt idx="1946">
                  <c:v>42762</c:v>
                </c:pt>
                <c:pt idx="1947">
                  <c:v>42763</c:v>
                </c:pt>
                <c:pt idx="1948">
                  <c:v>42764</c:v>
                </c:pt>
                <c:pt idx="1949">
                  <c:v>42765</c:v>
                </c:pt>
                <c:pt idx="1950">
                  <c:v>42766</c:v>
                </c:pt>
                <c:pt idx="1951">
                  <c:v>42767</c:v>
                </c:pt>
                <c:pt idx="1952">
                  <c:v>42768</c:v>
                </c:pt>
                <c:pt idx="1953">
                  <c:v>42769</c:v>
                </c:pt>
                <c:pt idx="1954">
                  <c:v>42770</c:v>
                </c:pt>
                <c:pt idx="1955">
                  <c:v>42771</c:v>
                </c:pt>
                <c:pt idx="1956">
                  <c:v>42772</c:v>
                </c:pt>
                <c:pt idx="1957">
                  <c:v>42773</c:v>
                </c:pt>
                <c:pt idx="1958">
                  <c:v>42774</c:v>
                </c:pt>
                <c:pt idx="1959">
                  <c:v>42775</c:v>
                </c:pt>
                <c:pt idx="1960">
                  <c:v>42776</c:v>
                </c:pt>
                <c:pt idx="1961">
                  <c:v>42777</c:v>
                </c:pt>
                <c:pt idx="1962">
                  <c:v>42778</c:v>
                </c:pt>
                <c:pt idx="1963">
                  <c:v>42779</c:v>
                </c:pt>
                <c:pt idx="1964">
                  <c:v>42780</c:v>
                </c:pt>
                <c:pt idx="1965">
                  <c:v>42781</c:v>
                </c:pt>
                <c:pt idx="1966">
                  <c:v>42782</c:v>
                </c:pt>
                <c:pt idx="1967">
                  <c:v>42783</c:v>
                </c:pt>
                <c:pt idx="1968">
                  <c:v>42784</c:v>
                </c:pt>
                <c:pt idx="1969">
                  <c:v>42785</c:v>
                </c:pt>
                <c:pt idx="1970">
                  <c:v>42786</c:v>
                </c:pt>
                <c:pt idx="1971">
                  <c:v>42787</c:v>
                </c:pt>
                <c:pt idx="1972">
                  <c:v>42788</c:v>
                </c:pt>
                <c:pt idx="1973">
                  <c:v>42789</c:v>
                </c:pt>
                <c:pt idx="1974">
                  <c:v>42790</c:v>
                </c:pt>
                <c:pt idx="1975">
                  <c:v>42791</c:v>
                </c:pt>
                <c:pt idx="1976">
                  <c:v>42792</c:v>
                </c:pt>
                <c:pt idx="1977">
                  <c:v>42793</c:v>
                </c:pt>
                <c:pt idx="1978">
                  <c:v>42794</c:v>
                </c:pt>
                <c:pt idx="1979">
                  <c:v>42795</c:v>
                </c:pt>
                <c:pt idx="1980">
                  <c:v>42796</c:v>
                </c:pt>
                <c:pt idx="1981">
                  <c:v>42797</c:v>
                </c:pt>
                <c:pt idx="1982">
                  <c:v>42798</c:v>
                </c:pt>
                <c:pt idx="1983">
                  <c:v>42799</c:v>
                </c:pt>
                <c:pt idx="1984">
                  <c:v>42800</c:v>
                </c:pt>
                <c:pt idx="1985">
                  <c:v>42801</c:v>
                </c:pt>
                <c:pt idx="1986">
                  <c:v>42802</c:v>
                </c:pt>
                <c:pt idx="1987">
                  <c:v>42803</c:v>
                </c:pt>
                <c:pt idx="1988">
                  <c:v>42804</c:v>
                </c:pt>
                <c:pt idx="1989">
                  <c:v>42805</c:v>
                </c:pt>
                <c:pt idx="1990">
                  <c:v>42806</c:v>
                </c:pt>
                <c:pt idx="1991">
                  <c:v>42807</c:v>
                </c:pt>
                <c:pt idx="1992">
                  <c:v>42808</c:v>
                </c:pt>
                <c:pt idx="1993">
                  <c:v>42809</c:v>
                </c:pt>
                <c:pt idx="1994">
                  <c:v>42810</c:v>
                </c:pt>
                <c:pt idx="1995">
                  <c:v>42811</c:v>
                </c:pt>
                <c:pt idx="1996">
                  <c:v>42812</c:v>
                </c:pt>
                <c:pt idx="1997">
                  <c:v>42813</c:v>
                </c:pt>
                <c:pt idx="1998">
                  <c:v>42814</c:v>
                </c:pt>
                <c:pt idx="1999">
                  <c:v>42815</c:v>
                </c:pt>
                <c:pt idx="2000">
                  <c:v>42816</c:v>
                </c:pt>
                <c:pt idx="2001">
                  <c:v>42817</c:v>
                </c:pt>
                <c:pt idx="2002">
                  <c:v>42818</c:v>
                </c:pt>
                <c:pt idx="2003">
                  <c:v>42819</c:v>
                </c:pt>
                <c:pt idx="2004">
                  <c:v>42820</c:v>
                </c:pt>
                <c:pt idx="2005">
                  <c:v>42821</c:v>
                </c:pt>
                <c:pt idx="2006">
                  <c:v>42822</c:v>
                </c:pt>
                <c:pt idx="2007">
                  <c:v>42823</c:v>
                </c:pt>
                <c:pt idx="2008">
                  <c:v>42824</c:v>
                </c:pt>
                <c:pt idx="2009">
                  <c:v>42825</c:v>
                </c:pt>
                <c:pt idx="2010">
                  <c:v>42826</c:v>
                </c:pt>
                <c:pt idx="2011">
                  <c:v>42827</c:v>
                </c:pt>
                <c:pt idx="2012">
                  <c:v>42828</c:v>
                </c:pt>
                <c:pt idx="2013">
                  <c:v>42829</c:v>
                </c:pt>
                <c:pt idx="2014">
                  <c:v>42830</c:v>
                </c:pt>
                <c:pt idx="2015">
                  <c:v>42831</c:v>
                </c:pt>
                <c:pt idx="2016">
                  <c:v>42832</c:v>
                </c:pt>
                <c:pt idx="2017">
                  <c:v>42833</c:v>
                </c:pt>
                <c:pt idx="2018">
                  <c:v>42834</c:v>
                </c:pt>
                <c:pt idx="2019">
                  <c:v>42835</c:v>
                </c:pt>
                <c:pt idx="2020">
                  <c:v>42836</c:v>
                </c:pt>
                <c:pt idx="2021">
                  <c:v>42837</c:v>
                </c:pt>
                <c:pt idx="2022">
                  <c:v>42838</c:v>
                </c:pt>
                <c:pt idx="2023">
                  <c:v>42839</c:v>
                </c:pt>
                <c:pt idx="2024">
                  <c:v>42840</c:v>
                </c:pt>
                <c:pt idx="2025">
                  <c:v>42841</c:v>
                </c:pt>
                <c:pt idx="2026">
                  <c:v>42842</c:v>
                </c:pt>
                <c:pt idx="2027">
                  <c:v>42843</c:v>
                </c:pt>
                <c:pt idx="2028">
                  <c:v>42844</c:v>
                </c:pt>
                <c:pt idx="2029">
                  <c:v>42845</c:v>
                </c:pt>
                <c:pt idx="2030">
                  <c:v>42846</c:v>
                </c:pt>
                <c:pt idx="2031">
                  <c:v>42847</c:v>
                </c:pt>
                <c:pt idx="2032">
                  <c:v>42848</c:v>
                </c:pt>
                <c:pt idx="2033">
                  <c:v>42849</c:v>
                </c:pt>
                <c:pt idx="2034">
                  <c:v>42850</c:v>
                </c:pt>
                <c:pt idx="2035">
                  <c:v>42851</c:v>
                </c:pt>
                <c:pt idx="2036">
                  <c:v>42852</c:v>
                </c:pt>
                <c:pt idx="2037">
                  <c:v>42853</c:v>
                </c:pt>
                <c:pt idx="2038">
                  <c:v>42854</c:v>
                </c:pt>
                <c:pt idx="2039">
                  <c:v>42855</c:v>
                </c:pt>
                <c:pt idx="2040">
                  <c:v>42856</c:v>
                </c:pt>
                <c:pt idx="2041">
                  <c:v>42857</c:v>
                </c:pt>
                <c:pt idx="2042">
                  <c:v>42858</c:v>
                </c:pt>
                <c:pt idx="2043">
                  <c:v>42859</c:v>
                </c:pt>
                <c:pt idx="2044">
                  <c:v>42860</c:v>
                </c:pt>
                <c:pt idx="2045">
                  <c:v>42861</c:v>
                </c:pt>
                <c:pt idx="2046">
                  <c:v>42862</c:v>
                </c:pt>
                <c:pt idx="2047">
                  <c:v>42863</c:v>
                </c:pt>
                <c:pt idx="2048">
                  <c:v>42864</c:v>
                </c:pt>
                <c:pt idx="2049">
                  <c:v>42865</c:v>
                </c:pt>
                <c:pt idx="2050">
                  <c:v>42866</c:v>
                </c:pt>
                <c:pt idx="2051">
                  <c:v>42867</c:v>
                </c:pt>
                <c:pt idx="2052">
                  <c:v>42868</c:v>
                </c:pt>
                <c:pt idx="2053">
                  <c:v>42869</c:v>
                </c:pt>
                <c:pt idx="2054">
                  <c:v>42870</c:v>
                </c:pt>
                <c:pt idx="2055">
                  <c:v>42871</c:v>
                </c:pt>
                <c:pt idx="2056">
                  <c:v>42872</c:v>
                </c:pt>
                <c:pt idx="2057">
                  <c:v>42873</c:v>
                </c:pt>
                <c:pt idx="2058">
                  <c:v>42874</c:v>
                </c:pt>
                <c:pt idx="2059">
                  <c:v>42875</c:v>
                </c:pt>
                <c:pt idx="2060">
                  <c:v>42876</c:v>
                </c:pt>
                <c:pt idx="2061">
                  <c:v>42877</c:v>
                </c:pt>
                <c:pt idx="2062">
                  <c:v>42878</c:v>
                </c:pt>
                <c:pt idx="2063">
                  <c:v>42879</c:v>
                </c:pt>
                <c:pt idx="2064">
                  <c:v>42880</c:v>
                </c:pt>
                <c:pt idx="2065">
                  <c:v>42881</c:v>
                </c:pt>
                <c:pt idx="2066">
                  <c:v>42882</c:v>
                </c:pt>
                <c:pt idx="2067">
                  <c:v>42883</c:v>
                </c:pt>
                <c:pt idx="2068">
                  <c:v>42884</c:v>
                </c:pt>
                <c:pt idx="2069">
                  <c:v>42885</c:v>
                </c:pt>
                <c:pt idx="2070">
                  <c:v>42886</c:v>
                </c:pt>
                <c:pt idx="2071">
                  <c:v>42887</c:v>
                </c:pt>
                <c:pt idx="2072">
                  <c:v>42888</c:v>
                </c:pt>
                <c:pt idx="2073">
                  <c:v>42889</c:v>
                </c:pt>
                <c:pt idx="2074">
                  <c:v>42890</c:v>
                </c:pt>
                <c:pt idx="2075">
                  <c:v>42891</c:v>
                </c:pt>
                <c:pt idx="2076">
                  <c:v>42892</c:v>
                </c:pt>
                <c:pt idx="2077">
                  <c:v>42893</c:v>
                </c:pt>
                <c:pt idx="2078">
                  <c:v>42894</c:v>
                </c:pt>
                <c:pt idx="2079">
                  <c:v>42895</c:v>
                </c:pt>
                <c:pt idx="2080">
                  <c:v>42896</c:v>
                </c:pt>
                <c:pt idx="2081">
                  <c:v>42897</c:v>
                </c:pt>
                <c:pt idx="2082">
                  <c:v>42898</c:v>
                </c:pt>
                <c:pt idx="2083">
                  <c:v>42899</c:v>
                </c:pt>
                <c:pt idx="2084">
                  <c:v>42900</c:v>
                </c:pt>
                <c:pt idx="2085">
                  <c:v>42901</c:v>
                </c:pt>
                <c:pt idx="2086">
                  <c:v>42902</c:v>
                </c:pt>
                <c:pt idx="2087">
                  <c:v>42903</c:v>
                </c:pt>
                <c:pt idx="2088">
                  <c:v>42904</c:v>
                </c:pt>
                <c:pt idx="2089">
                  <c:v>42905</c:v>
                </c:pt>
                <c:pt idx="2090">
                  <c:v>42906</c:v>
                </c:pt>
                <c:pt idx="2091">
                  <c:v>42907</c:v>
                </c:pt>
                <c:pt idx="2092">
                  <c:v>42908</c:v>
                </c:pt>
                <c:pt idx="2093">
                  <c:v>42909</c:v>
                </c:pt>
                <c:pt idx="2094">
                  <c:v>42910</c:v>
                </c:pt>
                <c:pt idx="2095">
                  <c:v>42911</c:v>
                </c:pt>
                <c:pt idx="2096">
                  <c:v>42912</c:v>
                </c:pt>
                <c:pt idx="2097">
                  <c:v>42913</c:v>
                </c:pt>
                <c:pt idx="2098">
                  <c:v>42914</c:v>
                </c:pt>
                <c:pt idx="2099">
                  <c:v>42915</c:v>
                </c:pt>
                <c:pt idx="2100">
                  <c:v>42916</c:v>
                </c:pt>
                <c:pt idx="2101">
                  <c:v>42917</c:v>
                </c:pt>
                <c:pt idx="2102">
                  <c:v>42918</c:v>
                </c:pt>
                <c:pt idx="2103">
                  <c:v>42919</c:v>
                </c:pt>
                <c:pt idx="2104">
                  <c:v>42920</c:v>
                </c:pt>
                <c:pt idx="2105">
                  <c:v>42921</c:v>
                </c:pt>
                <c:pt idx="2106">
                  <c:v>42922</c:v>
                </c:pt>
                <c:pt idx="2107">
                  <c:v>42923</c:v>
                </c:pt>
                <c:pt idx="2108">
                  <c:v>42924</c:v>
                </c:pt>
                <c:pt idx="2109">
                  <c:v>42925</c:v>
                </c:pt>
                <c:pt idx="2110">
                  <c:v>42926</c:v>
                </c:pt>
                <c:pt idx="2111">
                  <c:v>42927</c:v>
                </c:pt>
                <c:pt idx="2112">
                  <c:v>42928</c:v>
                </c:pt>
                <c:pt idx="2113">
                  <c:v>42929</c:v>
                </c:pt>
                <c:pt idx="2114">
                  <c:v>42930</c:v>
                </c:pt>
                <c:pt idx="2115">
                  <c:v>42931</c:v>
                </c:pt>
                <c:pt idx="2116">
                  <c:v>42932</c:v>
                </c:pt>
                <c:pt idx="2117">
                  <c:v>42933</c:v>
                </c:pt>
                <c:pt idx="2118">
                  <c:v>42934</c:v>
                </c:pt>
                <c:pt idx="2119">
                  <c:v>42935</c:v>
                </c:pt>
                <c:pt idx="2120">
                  <c:v>42936</c:v>
                </c:pt>
                <c:pt idx="2121">
                  <c:v>42937</c:v>
                </c:pt>
                <c:pt idx="2122">
                  <c:v>42938</c:v>
                </c:pt>
                <c:pt idx="2123">
                  <c:v>42939</c:v>
                </c:pt>
                <c:pt idx="2124">
                  <c:v>42940</c:v>
                </c:pt>
                <c:pt idx="2125">
                  <c:v>42941</c:v>
                </c:pt>
                <c:pt idx="2126">
                  <c:v>42942</c:v>
                </c:pt>
                <c:pt idx="2127">
                  <c:v>42943</c:v>
                </c:pt>
                <c:pt idx="2128">
                  <c:v>42944</c:v>
                </c:pt>
                <c:pt idx="2129">
                  <c:v>42945</c:v>
                </c:pt>
                <c:pt idx="2130">
                  <c:v>42946</c:v>
                </c:pt>
                <c:pt idx="2131">
                  <c:v>42947</c:v>
                </c:pt>
                <c:pt idx="2132">
                  <c:v>42948</c:v>
                </c:pt>
                <c:pt idx="2133">
                  <c:v>42949</c:v>
                </c:pt>
                <c:pt idx="2134">
                  <c:v>42950</c:v>
                </c:pt>
                <c:pt idx="2135">
                  <c:v>42951</c:v>
                </c:pt>
                <c:pt idx="2136">
                  <c:v>42952</c:v>
                </c:pt>
                <c:pt idx="2137">
                  <c:v>42953</c:v>
                </c:pt>
                <c:pt idx="2138">
                  <c:v>42954</c:v>
                </c:pt>
                <c:pt idx="2139">
                  <c:v>42955</c:v>
                </c:pt>
                <c:pt idx="2140">
                  <c:v>42956</c:v>
                </c:pt>
                <c:pt idx="2141">
                  <c:v>42957</c:v>
                </c:pt>
                <c:pt idx="2142">
                  <c:v>42958</c:v>
                </c:pt>
                <c:pt idx="2143">
                  <c:v>42959</c:v>
                </c:pt>
                <c:pt idx="2144">
                  <c:v>42960</c:v>
                </c:pt>
                <c:pt idx="2145">
                  <c:v>42961</c:v>
                </c:pt>
                <c:pt idx="2146">
                  <c:v>42962</c:v>
                </c:pt>
                <c:pt idx="2147">
                  <c:v>42963</c:v>
                </c:pt>
                <c:pt idx="2148">
                  <c:v>42964</c:v>
                </c:pt>
                <c:pt idx="2149">
                  <c:v>42965</c:v>
                </c:pt>
                <c:pt idx="2150">
                  <c:v>42966</c:v>
                </c:pt>
                <c:pt idx="2151">
                  <c:v>42967</c:v>
                </c:pt>
                <c:pt idx="2152">
                  <c:v>42968</c:v>
                </c:pt>
                <c:pt idx="2153">
                  <c:v>42969</c:v>
                </c:pt>
                <c:pt idx="2154">
                  <c:v>42970</c:v>
                </c:pt>
                <c:pt idx="2155">
                  <c:v>42971</c:v>
                </c:pt>
                <c:pt idx="2156">
                  <c:v>42972</c:v>
                </c:pt>
                <c:pt idx="2157">
                  <c:v>42973</c:v>
                </c:pt>
                <c:pt idx="2158">
                  <c:v>42974</c:v>
                </c:pt>
                <c:pt idx="2159">
                  <c:v>42975</c:v>
                </c:pt>
                <c:pt idx="2160">
                  <c:v>42976</c:v>
                </c:pt>
                <c:pt idx="2161">
                  <c:v>42977</c:v>
                </c:pt>
                <c:pt idx="2162">
                  <c:v>42978</c:v>
                </c:pt>
                <c:pt idx="2163">
                  <c:v>42979</c:v>
                </c:pt>
                <c:pt idx="2164">
                  <c:v>42980</c:v>
                </c:pt>
                <c:pt idx="2165">
                  <c:v>42981</c:v>
                </c:pt>
                <c:pt idx="2166">
                  <c:v>42982</c:v>
                </c:pt>
                <c:pt idx="2167">
                  <c:v>42983</c:v>
                </c:pt>
                <c:pt idx="2168">
                  <c:v>42984</c:v>
                </c:pt>
                <c:pt idx="2169">
                  <c:v>42985</c:v>
                </c:pt>
                <c:pt idx="2170">
                  <c:v>42986</c:v>
                </c:pt>
                <c:pt idx="2171">
                  <c:v>42987</c:v>
                </c:pt>
                <c:pt idx="2172">
                  <c:v>42988</c:v>
                </c:pt>
                <c:pt idx="2173">
                  <c:v>42989</c:v>
                </c:pt>
                <c:pt idx="2174">
                  <c:v>42990</c:v>
                </c:pt>
                <c:pt idx="2175">
                  <c:v>42991</c:v>
                </c:pt>
                <c:pt idx="2176">
                  <c:v>42992</c:v>
                </c:pt>
                <c:pt idx="2177">
                  <c:v>42993</c:v>
                </c:pt>
                <c:pt idx="2178">
                  <c:v>42994</c:v>
                </c:pt>
                <c:pt idx="2179">
                  <c:v>42995</c:v>
                </c:pt>
                <c:pt idx="2180">
                  <c:v>42996</c:v>
                </c:pt>
                <c:pt idx="2181">
                  <c:v>42997</c:v>
                </c:pt>
                <c:pt idx="2182">
                  <c:v>42998</c:v>
                </c:pt>
                <c:pt idx="2183">
                  <c:v>42999</c:v>
                </c:pt>
                <c:pt idx="2184">
                  <c:v>43000</c:v>
                </c:pt>
                <c:pt idx="2185">
                  <c:v>43001</c:v>
                </c:pt>
                <c:pt idx="2186">
                  <c:v>43002</c:v>
                </c:pt>
                <c:pt idx="2187">
                  <c:v>43003</c:v>
                </c:pt>
                <c:pt idx="2188">
                  <c:v>43004</c:v>
                </c:pt>
                <c:pt idx="2189">
                  <c:v>43005</c:v>
                </c:pt>
                <c:pt idx="2190">
                  <c:v>43006</c:v>
                </c:pt>
                <c:pt idx="2191">
                  <c:v>43007</c:v>
                </c:pt>
                <c:pt idx="2192">
                  <c:v>43008</c:v>
                </c:pt>
                <c:pt idx="2193">
                  <c:v>43009</c:v>
                </c:pt>
                <c:pt idx="2194">
                  <c:v>43010</c:v>
                </c:pt>
                <c:pt idx="2195">
                  <c:v>43011</c:v>
                </c:pt>
                <c:pt idx="2196">
                  <c:v>43012</c:v>
                </c:pt>
                <c:pt idx="2197">
                  <c:v>43013</c:v>
                </c:pt>
                <c:pt idx="2198">
                  <c:v>43014</c:v>
                </c:pt>
                <c:pt idx="2199">
                  <c:v>43015</c:v>
                </c:pt>
                <c:pt idx="2200">
                  <c:v>43016</c:v>
                </c:pt>
                <c:pt idx="2201">
                  <c:v>43017</c:v>
                </c:pt>
                <c:pt idx="2202">
                  <c:v>43018</c:v>
                </c:pt>
                <c:pt idx="2203">
                  <c:v>43019</c:v>
                </c:pt>
                <c:pt idx="2204">
                  <c:v>43020</c:v>
                </c:pt>
                <c:pt idx="2205">
                  <c:v>43021</c:v>
                </c:pt>
                <c:pt idx="2206">
                  <c:v>43022</c:v>
                </c:pt>
                <c:pt idx="2207">
                  <c:v>43023</c:v>
                </c:pt>
                <c:pt idx="2208">
                  <c:v>43024</c:v>
                </c:pt>
                <c:pt idx="2209">
                  <c:v>43025</c:v>
                </c:pt>
                <c:pt idx="2210">
                  <c:v>43026</c:v>
                </c:pt>
                <c:pt idx="2211">
                  <c:v>43027</c:v>
                </c:pt>
                <c:pt idx="2212">
                  <c:v>43028</c:v>
                </c:pt>
                <c:pt idx="2213">
                  <c:v>43029</c:v>
                </c:pt>
                <c:pt idx="2214">
                  <c:v>43030</c:v>
                </c:pt>
                <c:pt idx="2215">
                  <c:v>43031</c:v>
                </c:pt>
                <c:pt idx="2216">
                  <c:v>43032</c:v>
                </c:pt>
                <c:pt idx="2217">
                  <c:v>43033</c:v>
                </c:pt>
                <c:pt idx="2218">
                  <c:v>43034</c:v>
                </c:pt>
                <c:pt idx="2219">
                  <c:v>43035</c:v>
                </c:pt>
                <c:pt idx="2220">
                  <c:v>43036</c:v>
                </c:pt>
                <c:pt idx="2221">
                  <c:v>43037</c:v>
                </c:pt>
                <c:pt idx="2222">
                  <c:v>43038</c:v>
                </c:pt>
                <c:pt idx="2223">
                  <c:v>43039</c:v>
                </c:pt>
                <c:pt idx="2224">
                  <c:v>43040</c:v>
                </c:pt>
                <c:pt idx="2225">
                  <c:v>43041</c:v>
                </c:pt>
                <c:pt idx="2226">
                  <c:v>43042</c:v>
                </c:pt>
                <c:pt idx="2227">
                  <c:v>43043</c:v>
                </c:pt>
                <c:pt idx="2228">
                  <c:v>43044</c:v>
                </c:pt>
                <c:pt idx="2229">
                  <c:v>43045</c:v>
                </c:pt>
                <c:pt idx="2230">
                  <c:v>43046</c:v>
                </c:pt>
                <c:pt idx="2231">
                  <c:v>43047</c:v>
                </c:pt>
                <c:pt idx="2232">
                  <c:v>43048</c:v>
                </c:pt>
                <c:pt idx="2233">
                  <c:v>43049</c:v>
                </c:pt>
                <c:pt idx="2234">
                  <c:v>43050</c:v>
                </c:pt>
                <c:pt idx="2235">
                  <c:v>43051</c:v>
                </c:pt>
                <c:pt idx="2236">
                  <c:v>43052</c:v>
                </c:pt>
                <c:pt idx="2237">
                  <c:v>43053</c:v>
                </c:pt>
                <c:pt idx="2238">
                  <c:v>43054</c:v>
                </c:pt>
                <c:pt idx="2239">
                  <c:v>43055</c:v>
                </c:pt>
                <c:pt idx="2240">
                  <c:v>43056</c:v>
                </c:pt>
                <c:pt idx="2241">
                  <c:v>43057</c:v>
                </c:pt>
                <c:pt idx="2242">
                  <c:v>43058</c:v>
                </c:pt>
                <c:pt idx="2243">
                  <c:v>43059</c:v>
                </c:pt>
                <c:pt idx="2244">
                  <c:v>43060</c:v>
                </c:pt>
                <c:pt idx="2245">
                  <c:v>43061</c:v>
                </c:pt>
                <c:pt idx="2246">
                  <c:v>43062</c:v>
                </c:pt>
                <c:pt idx="2247">
                  <c:v>43063</c:v>
                </c:pt>
                <c:pt idx="2248">
                  <c:v>43064</c:v>
                </c:pt>
                <c:pt idx="2249">
                  <c:v>43065</c:v>
                </c:pt>
                <c:pt idx="2250">
                  <c:v>43066</c:v>
                </c:pt>
                <c:pt idx="2251">
                  <c:v>43067</c:v>
                </c:pt>
                <c:pt idx="2252">
                  <c:v>43068</c:v>
                </c:pt>
                <c:pt idx="2253">
                  <c:v>43069</c:v>
                </c:pt>
                <c:pt idx="2254">
                  <c:v>43070</c:v>
                </c:pt>
                <c:pt idx="2255">
                  <c:v>43071</c:v>
                </c:pt>
                <c:pt idx="2256">
                  <c:v>43072</c:v>
                </c:pt>
                <c:pt idx="2257">
                  <c:v>43073</c:v>
                </c:pt>
                <c:pt idx="2258">
                  <c:v>43074</c:v>
                </c:pt>
                <c:pt idx="2259">
                  <c:v>43075</c:v>
                </c:pt>
                <c:pt idx="2260">
                  <c:v>43076</c:v>
                </c:pt>
                <c:pt idx="2261">
                  <c:v>43077</c:v>
                </c:pt>
                <c:pt idx="2262">
                  <c:v>43078</c:v>
                </c:pt>
                <c:pt idx="2263">
                  <c:v>43079</c:v>
                </c:pt>
                <c:pt idx="2264">
                  <c:v>43080</c:v>
                </c:pt>
                <c:pt idx="2265">
                  <c:v>43081</c:v>
                </c:pt>
                <c:pt idx="2266">
                  <c:v>43082</c:v>
                </c:pt>
                <c:pt idx="2267">
                  <c:v>43083</c:v>
                </c:pt>
                <c:pt idx="2268">
                  <c:v>43084</c:v>
                </c:pt>
                <c:pt idx="2269">
                  <c:v>43085</c:v>
                </c:pt>
                <c:pt idx="2270">
                  <c:v>43086</c:v>
                </c:pt>
                <c:pt idx="2271">
                  <c:v>43087</c:v>
                </c:pt>
                <c:pt idx="2272">
                  <c:v>43088</c:v>
                </c:pt>
                <c:pt idx="2273">
                  <c:v>43089</c:v>
                </c:pt>
                <c:pt idx="2274">
                  <c:v>43090</c:v>
                </c:pt>
                <c:pt idx="2275">
                  <c:v>43091</c:v>
                </c:pt>
                <c:pt idx="2276">
                  <c:v>43092</c:v>
                </c:pt>
                <c:pt idx="2277">
                  <c:v>43093</c:v>
                </c:pt>
                <c:pt idx="2278">
                  <c:v>43094</c:v>
                </c:pt>
                <c:pt idx="2279">
                  <c:v>43095</c:v>
                </c:pt>
                <c:pt idx="2280">
                  <c:v>43096</c:v>
                </c:pt>
                <c:pt idx="2281">
                  <c:v>43097</c:v>
                </c:pt>
                <c:pt idx="2282">
                  <c:v>43098</c:v>
                </c:pt>
                <c:pt idx="2283">
                  <c:v>43099</c:v>
                </c:pt>
                <c:pt idx="2284">
                  <c:v>43100</c:v>
                </c:pt>
                <c:pt idx="2285">
                  <c:v>43101</c:v>
                </c:pt>
                <c:pt idx="2286">
                  <c:v>43102</c:v>
                </c:pt>
                <c:pt idx="2287">
                  <c:v>43103</c:v>
                </c:pt>
                <c:pt idx="2288">
                  <c:v>43104</c:v>
                </c:pt>
                <c:pt idx="2289">
                  <c:v>43105</c:v>
                </c:pt>
                <c:pt idx="2290">
                  <c:v>43106</c:v>
                </c:pt>
                <c:pt idx="2291">
                  <c:v>43107</c:v>
                </c:pt>
                <c:pt idx="2292">
                  <c:v>43108</c:v>
                </c:pt>
                <c:pt idx="2293">
                  <c:v>43109</c:v>
                </c:pt>
                <c:pt idx="2294">
                  <c:v>43110</c:v>
                </c:pt>
                <c:pt idx="2295">
                  <c:v>43111</c:v>
                </c:pt>
                <c:pt idx="2296">
                  <c:v>43112</c:v>
                </c:pt>
                <c:pt idx="2297">
                  <c:v>43113</c:v>
                </c:pt>
                <c:pt idx="2298">
                  <c:v>43114</c:v>
                </c:pt>
                <c:pt idx="2299">
                  <c:v>43115</c:v>
                </c:pt>
                <c:pt idx="2300">
                  <c:v>43116</c:v>
                </c:pt>
                <c:pt idx="2301">
                  <c:v>43117</c:v>
                </c:pt>
                <c:pt idx="2302">
                  <c:v>43118</c:v>
                </c:pt>
                <c:pt idx="2303">
                  <c:v>43119</c:v>
                </c:pt>
                <c:pt idx="2304">
                  <c:v>43120</c:v>
                </c:pt>
                <c:pt idx="2305">
                  <c:v>43121</c:v>
                </c:pt>
                <c:pt idx="2306">
                  <c:v>43122</c:v>
                </c:pt>
                <c:pt idx="2307">
                  <c:v>43123</c:v>
                </c:pt>
                <c:pt idx="2308">
                  <c:v>43124</c:v>
                </c:pt>
                <c:pt idx="2309">
                  <c:v>43125</c:v>
                </c:pt>
                <c:pt idx="2310">
                  <c:v>43126</c:v>
                </c:pt>
                <c:pt idx="2311">
                  <c:v>43127</c:v>
                </c:pt>
                <c:pt idx="2312">
                  <c:v>43128</c:v>
                </c:pt>
                <c:pt idx="2313">
                  <c:v>43129</c:v>
                </c:pt>
                <c:pt idx="2314">
                  <c:v>43130</c:v>
                </c:pt>
                <c:pt idx="2315">
                  <c:v>43131</c:v>
                </c:pt>
                <c:pt idx="2316">
                  <c:v>43132</c:v>
                </c:pt>
                <c:pt idx="2317">
                  <c:v>43133</c:v>
                </c:pt>
                <c:pt idx="2318">
                  <c:v>43134</c:v>
                </c:pt>
                <c:pt idx="2319">
                  <c:v>43135</c:v>
                </c:pt>
                <c:pt idx="2320">
                  <c:v>43136</c:v>
                </c:pt>
                <c:pt idx="2321">
                  <c:v>43137</c:v>
                </c:pt>
                <c:pt idx="2322">
                  <c:v>43138</c:v>
                </c:pt>
                <c:pt idx="2323">
                  <c:v>43139</c:v>
                </c:pt>
                <c:pt idx="2324">
                  <c:v>43140</c:v>
                </c:pt>
                <c:pt idx="2325">
                  <c:v>43141</c:v>
                </c:pt>
                <c:pt idx="2326">
                  <c:v>43142</c:v>
                </c:pt>
                <c:pt idx="2327">
                  <c:v>43143</c:v>
                </c:pt>
                <c:pt idx="2328">
                  <c:v>43144</c:v>
                </c:pt>
                <c:pt idx="2329">
                  <c:v>43145</c:v>
                </c:pt>
                <c:pt idx="2330">
                  <c:v>43146</c:v>
                </c:pt>
                <c:pt idx="2331">
                  <c:v>43147</c:v>
                </c:pt>
                <c:pt idx="2332">
                  <c:v>43148</c:v>
                </c:pt>
                <c:pt idx="2333">
                  <c:v>43149</c:v>
                </c:pt>
                <c:pt idx="2334">
                  <c:v>43150</c:v>
                </c:pt>
                <c:pt idx="2335">
                  <c:v>43151</c:v>
                </c:pt>
                <c:pt idx="2336">
                  <c:v>43152</c:v>
                </c:pt>
                <c:pt idx="2337">
                  <c:v>43153</c:v>
                </c:pt>
                <c:pt idx="2338">
                  <c:v>43154</c:v>
                </c:pt>
                <c:pt idx="2339">
                  <c:v>43155</c:v>
                </c:pt>
                <c:pt idx="2340">
                  <c:v>43156</c:v>
                </c:pt>
                <c:pt idx="2341">
                  <c:v>43157</c:v>
                </c:pt>
                <c:pt idx="2342">
                  <c:v>43158</c:v>
                </c:pt>
                <c:pt idx="2343">
                  <c:v>43159</c:v>
                </c:pt>
                <c:pt idx="2344">
                  <c:v>43160</c:v>
                </c:pt>
                <c:pt idx="2345">
                  <c:v>43161</c:v>
                </c:pt>
                <c:pt idx="2346">
                  <c:v>43162</c:v>
                </c:pt>
                <c:pt idx="2347">
                  <c:v>43163</c:v>
                </c:pt>
                <c:pt idx="2348">
                  <c:v>43164</c:v>
                </c:pt>
                <c:pt idx="2349">
                  <c:v>43165</c:v>
                </c:pt>
                <c:pt idx="2350">
                  <c:v>43166</c:v>
                </c:pt>
                <c:pt idx="2351">
                  <c:v>43167</c:v>
                </c:pt>
                <c:pt idx="2352">
                  <c:v>43168</c:v>
                </c:pt>
                <c:pt idx="2353">
                  <c:v>43169</c:v>
                </c:pt>
                <c:pt idx="2354">
                  <c:v>43170</c:v>
                </c:pt>
                <c:pt idx="2355">
                  <c:v>43171</c:v>
                </c:pt>
                <c:pt idx="2356">
                  <c:v>43172</c:v>
                </c:pt>
                <c:pt idx="2357">
                  <c:v>43173</c:v>
                </c:pt>
                <c:pt idx="2358">
                  <c:v>43174</c:v>
                </c:pt>
                <c:pt idx="2359">
                  <c:v>43175</c:v>
                </c:pt>
                <c:pt idx="2360">
                  <c:v>43176</c:v>
                </c:pt>
                <c:pt idx="2361">
                  <c:v>43177</c:v>
                </c:pt>
                <c:pt idx="2362">
                  <c:v>43178</c:v>
                </c:pt>
                <c:pt idx="2363">
                  <c:v>43179</c:v>
                </c:pt>
                <c:pt idx="2364">
                  <c:v>43180</c:v>
                </c:pt>
                <c:pt idx="2365">
                  <c:v>43181</c:v>
                </c:pt>
                <c:pt idx="2366">
                  <c:v>43182</c:v>
                </c:pt>
                <c:pt idx="2367">
                  <c:v>43183</c:v>
                </c:pt>
                <c:pt idx="2368">
                  <c:v>43184</c:v>
                </c:pt>
                <c:pt idx="2369">
                  <c:v>43185</c:v>
                </c:pt>
                <c:pt idx="2370">
                  <c:v>43186</c:v>
                </c:pt>
                <c:pt idx="2371">
                  <c:v>43187</c:v>
                </c:pt>
                <c:pt idx="2372">
                  <c:v>43188</c:v>
                </c:pt>
                <c:pt idx="2373">
                  <c:v>43189</c:v>
                </c:pt>
                <c:pt idx="2374">
                  <c:v>43190</c:v>
                </c:pt>
                <c:pt idx="2375">
                  <c:v>43191</c:v>
                </c:pt>
                <c:pt idx="2376">
                  <c:v>43192</c:v>
                </c:pt>
                <c:pt idx="2377">
                  <c:v>43193</c:v>
                </c:pt>
                <c:pt idx="2378">
                  <c:v>43194</c:v>
                </c:pt>
                <c:pt idx="2379">
                  <c:v>43195</c:v>
                </c:pt>
                <c:pt idx="2380">
                  <c:v>43196</c:v>
                </c:pt>
                <c:pt idx="2381">
                  <c:v>43197</c:v>
                </c:pt>
                <c:pt idx="2382">
                  <c:v>43198</c:v>
                </c:pt>
                <c:pt idx="2383">
                  <c:v>43199</c:v>
                </c:pt>
                <c:pt idx="2384">
                  <c:v>43200</c:v>
                </c:pt>
                <c:pt idx="2385">
                  <c:v>43201</c:v>
                </c:pt>
                <c:pt idx="2386">
                  <c:v>43202</c:v>
                </c:pt>
                <c:pt idx="2387">
                  <c:v>43203</c:v>
                </c:pt>
                <c:pt idx="2388">
                  <c:v>43204</c:v>
                </c:pt>
                <c:pt idx="2389">
                  <c:v>43205</c:v>
                </c:pt>
                <c:pt idx="2390">
                  <c:v>43206</c:v>
                </c:pt>
                <c:pt idx="2391">
                  <c:v>43207</c:v>
                </c:pt>
                <c:pt idx="2392">
                  <c:v>43208</c:v>
                </c:pt>
                <c:pt idx="2393">
                  <c:v>43209</c:v>
                </c:pt>
                <c:pt idx="2394">
                  <c:v>43210</c:v>
                </c:pt>
                <c:pt idx="2395">
                  <c:v>43211</c:v>
                </c:pt>
                <c:pt idx="2396">
                  <c:v>43212</c:v>
                </c:pt>
                <c:pt idx="2397">
                  <c:v>43213</c:v>
                </c:pt>
                <c:pt idx="2398">
                  <c:v>43214</c:v>
                </c:pt>
                <c:pt idx="2399">
                  <c:v>43215</c:v>
                </c:pt>
                <c:pt idx="2400">
                  <c:v>43216</c:v>
                </c:pt>
                <c:pt idx="2401">
                  <c:v>43217</c:v>
                </c:pt>
                <c:pt idx="2402">
                  <c:v>43218</c:v>
                </c:pt>
                <c:pt idx="2403">
                  <c:v>43219</c:v>
                </c:pt>
                <c:pt idx="2404">
                  <c:v>43220</c:v>
                </c:pt>
                <c:pt idx="2405">
                  <c:v>43221</c:v>
                </c:pt>
                <c:pt idx="2406">
                  <c:v>43222</c:v>
                </c:pt>
                <c:pt idx="2407">
                  <c:v>43223</c:v>
                </c:pt>
                <c:pt idx="2408">
                  <c:v>43224</c:v>
                </c:pt>
                <c:pt idx="2409">
                  <c:v>43225</c:v>
                </c:pt>
                <c:pt idx="2410">
                  <c:v>43226</c:v>
                </c:pt>
                <c:pt idx="2411">
                  <c:v>43227</c:v>
                </c:pt>
                <c:pt idx="2412">
                  <c:v>43228</c:v>
                </c:pt>
                <c:pt idx="2413">
                  <c:v>43229</c:v>
                </c:pt>
                <c:pt idx="2414">
                  <c:v>43230</c:v>
                </c:pt>
                <c:pt idx="2415">
                  <c:v>43231</c:v>
                </c:pt>
                <c:pt idx="2416">
                  <c:v>43232</c:v>
                </c:pt>
                <c:pt idx="2417">
                  <c:v>43233</c:v>
                </c:pt>
                <c:pt idx="2418">
                  <c:v>43234</c:v>
                </c:pt>
                <c:pt idx="2419">
                  <c:v>43235</c:v>
                </c:pt>
                <c:pt idx="2420">
                  <c:v>43236</c:v>
                </c:pt>
                <c:pt idx="2421">
                  <c:v>43237</c:v>
                </c:pt>
                <c:pt idx="2422">
                  <c:v>43238</c:v>
                </c:pt>
                <c:pt idx="2423">
                  <c:v>43239</c:v>
                </c:pt>
                <c:pt idx="2424">
                  <c:v>43240</c:v>
                </c:pt>
                <c:pt idx="2425">
                  <c:v>43241</c:v>
                </c:pt>
                <c:pt idx="2426">
                  <c:v>43242</c:v>
                </c:pt>
                <c:pt idx="2427">
                  <c:v>43243</c:v>
                </c:pt>
                <c:pt idx="2428">
                  <c:v>43244</c:v>
                </c:pt>
                <c:pt idx="2429">
                  <c:v>43245</c:v>
                </c:pt>
                <c:pt idx="2430">
                  <c:v>43246</c:v>
                </c:pt>
                <c:pt idx="2431">
                  <c:v>43247</c:v>
                </c:pt>
                <c:pt idx="2432">
                  <c:v>43248</c:v>
                </c:pt>
                <c:pt idx="2433">
                  <c:v>43249</c:v>
                </c:pt>
                <c:pt idx="2434">
                  <c:v>43250</c:v>
                </c:pt>
                <c:pt idx="2435">
                  <c:v>43251</c:v>
                </c:pt>
                <c:pt idx="2436">
                  <c:v>43252</c:v>
                </c:pt>
                <c:pt idx="2437">
                  <c:v>43253</c:v>
                </c:pt>
                <c:pt idx="2438">
                  <c:v>43254</c:v>
                </c:pt>
                <c:pt idx="2439">
                  <c:v>43255</c:v>
                </c:pt>
                <c:pt idx="2440">
                  <c:v>43256</c:v>
                </c:pt>
                <c:pt idx="2441">
                  <c:v>43257</c:v>
                </c:pt>
                <c:pt idx="2442">
                  <c:v>43258</c:v>
                </c:pt>
                <c:pt idx="2443">
                  <c:v>43259</c:v>
                </c:pt>
                <c:pt idx="2444">
                  <c:v>43260</c:v>
                </c:pt>
                <c:pt idx="2445">
                  <c:v>43261</c:v>
                </c:pt>
                <c:pt idx="2446">
                  <c:v>43262</c:v>
                </c:pt>
                <c:pt idx="2447">
                  <c:v>43263</c:v>
                </c:pt>
                <c:pt idx="2448">
                  <c:v>43264</c:v>
                </c:pt>
                <c:pt idx="2449">
                  <c:v>43265</c:v>
                </c:pt>
                <c:pt idx="2450">
                  <c:v>43266</c:v>
                </c:pt>
                <c:pt idx="2451">
                  <c:v>43267</c:v>
                </c:pt>
                <c:pt idx="2452">
                  <c:v>43268</c:v>
                </c:pt>
                <c:pt idx="2453">
                  <c:v>43269</c:v>
                </c:pt>
                <c:pt idx="2454">
                  <c:v>43270</c:v>
                </c:pt>
                <c:pt idx="2455">
                  <c:v>43271</c:v>
                </c:pt>
                <c:pt idx="2456">
                  <c:v>43272</c:v>
                </c:pt>
                <c:pt idx="2457">
                  <c:v>43273</c:v>
                </c:pt>
                <c:pt idx="2458">
                  <c:v>43274</c:v>
                </c:pt>
                <c:pt idx="2459">
                  <c:v>43275</c:v>
                </c:pt>
                <c:pt idx="2460">
                  <c:v>43276</c:v>
                </c:pt>
                <c:pt idx="2461">
                  <c:v>43277</c:v>
                </c:pt>
                <c:pt idx="2462">
                  <c:v>43278</c:v>
                </c:pt>
                <c:pt idx="2463">
                  <c:v>43279</c:v>
                </c:pt>
                <c:pt idx="2464">
                  <c:v>43280</c:v>
                </c:pt>
                <c:pt idx="2465">
                  <c:v>43281</c:v>
                </c:pt>
                <c:pt idx="2466">
                  <c:v>43282</c:v>
                </c:pt>
                <c:pt idx="2467">
                  <c:v>43283</c:v>
                </c:pt>
                <c:pt idx="2468">
                  <c:v>43284</c:v>
                </c:pt>
                <c:pt idx="2469">
                  <c:v>43285</c:v>
                </c:pt>
                <c:pt idx="2470">
                  <c:v>43286</c:v>
                </c:pt>
                <c:pt idx="2471">
                  <c:v>43287</c:v>
                </c:pt>
                <c:pt idx="2472">
                  <c:v>43288</c:v>
                </c:pt>
                <c:pt idx="2473">
                  <c:v>43289</c:v>
                </c:pt>
                <c:pt idx="2474">
                  <c:v>43290</c:v>
                </c:pt>
                <c:pt idx="2475">
                  <c:v>43291</c:v>
                </c:pt>
                <c:pt idx="2476">
                  <c:v>43292</c:v>
                </c:pt>
                <c:pt idx="2477">
                  <c:v>43293</c:v>
                </c:pt>
                <c:pt idx="2478">
                  <c:v>43294</c:v>
                </c:pt>
                <c:pt idx="2479">
                  <c:v>43295</c:v>
                </c:pt>
                <c:pt idx="2480">
                  <c:v>43296</c:v>
                </c:pt>
                <c:pt idx="2481">
                  <c:v>43297</c:v>
                </c:pt>
                <c:pt idx="2482">
                  <c:v>43298</c:v>
                </c:pt>
                <c:pt idx="2483">
                  <c:v>43299</c:v>
                </c:pt>
                <c:pt idx="2484">
                  <c:v>43300</c:v>
                </c:pt>
                <c:pt idx="2485">
                  <c:v>43301</c:v>
                </c:pt>
                <c:pt idx="2486">
                  <c:v>43302</c:v>
                </c:pt>
                <c:pt idx="2487">
                  <c:v>43303</c:v>
                </c:pt>
                <c:pt idx="2488">
                  <c:v>43304</c:v>
                </c:pt>
                <c:pt idx="2489">
                  <c:v>43305</c:v>
                </c:pt>
                <c:pt idx="2490">
                  <c:v>43306</c:v>
                </c:pt>
                <c:pt idx="2491">
                  <c:v>43307</c:v>
                </c:pt>
                <c:pt idx="2492">
                  <c:v>43308</c:v>
                </c:pt>
                <c:pt idx="2493">
                  <c:v>43309</c:v>
                </c:pt>
                <c:pt idx="2494">
                  <c:v>43310</c:v>
                </c:pt>
                <c:pt idx="2495">
                  <c:v>43311</c:v>
                </c:pt>
                <c:pt idx="2496">
                  <c:v>43312</c:v>
                </c:pt>
                <c:pt idx="2497">
                  <c:v>43313</c:v>
                </c:pt>
                <c:pt idx="2498">
                  <c:v>43314</c:v>
                </c:pt>
                <c:pt idx="2499">
                  <c:v>43315</c:v>
                </c:pt>
                <c:pt idx="2500">
                  <c:v>43316</c:v>
                </c:pt>
                <c:pt idx="2501">
                  <c:v>43317</c:v>
                </c:pt>
                <c:pt idx="2502">
                  <c:v>43318</c:v>
                </c:pt>
                <c:pt idx="2503">
                  <c:v>43319</c:v>
                </c:pt>
                <c:pt idx="2504">
                  <c:v>43320</c:v>
                </c:pt>
                <c:pt idx="2505">
                  <c:v>43321</c:v>
                </c:pt>
                <c:pt idx="2506">
                  <c:v>43322</c:v>
                </c:pt>
                <c:pt idx="2507">
                  <c:v>43323</c:v>
                </c:pt>
                <c:pt idx="2508">
                  <c:v>43324</c:v>
                </c:pt>
                <c:pt idx="2509">
                  <c:v>43325</c:v>
                </c:pt>
                <c:pt idx="2510">
                  <c:v>43326</c:v>
                </c:pt>
                <c:pt idx="2511">
                  <c:v>43327</c:v>
                </c:pt>
                <c:pt idx="2512">
                  <c:v>43328</c:v>
                </c:pt>
                <c:pt idx="2513">
                  <c:v>43329</c:v>
                </c:pt>
                <c:pt idx="2514">
                  <c:v>43330</c:v>
                </c:pt>
                <c:pt idx="2515">
                  <c:v>43331</c:v>
                </c:pt>
                <c:pt idx="2516">
                  <c:v>43332</c:v>
                </c:pt>
                <c:pt idx="2517">
                  <c:v>43333</c:v>
                </c:pt>
                <c:pt idx="2518">
                  <c:v>43334</c:v>
                </c:pt>
                <c:pt idx="2519">
                  <c:v>43335</c:v>
                </c:pt>
                <c:pt idx="2520">
                  <c:v>43336</c:v>
                </c:pt>
                <c:pt idx="2521">
                  <c:v>43337</c:v>
                </c:pt>
                <c:pt idx="2522">
                  <c:v>43338</c:v>
                </c:pt>
                <c:pt idx="2523">
                  <c:v>43339</c:v>
                </c:pt>
                <c:pt idx="2524">
                  <c:v>43340</c:v>
                </c:pt>
                <c:pt idx="2525">
                  <c:v>43341</c:v>
                </c:pt>
                <c:pt idx="2526">
                  <c:v>43342</c:v>
                </c:pt>
                <c:pt idx="2527">
                  <c:v>43343</c:v>
                </c:pt>
                <c:pt idx="2528">
                  <c:v>43344</c:v>
                </c:pt>
                <c:pt idx="2529">
                  <c:v>43345</c:v>
                </c:pt>
                <c:pt idx="2530">
                  <c:v>43346</c:v>
                </c:pt>
                <c:pt idx="2531">
                  <c:v>43347</c:v>
                </c:pt>
                <c:pt idx="2532">
                  <c:v>43348</c:v>
                </c:pt>
                <c:pt idx="2533">
                  <c:v>43349</c:v>
                </c:pt>
                <c:pt idx="2534">
                  <c:v>43350</c:v>
                </c:pt>
                <c:pt idx="2535">
                  <c:v>43351</c:v>
                </c:pt>
                <c:pt idx="2536">
                  <c:v>43352</c:v>
                </c:pt>
                <c:pt idx="2537">
                  <c:v>43353</c:v>
                </c:pt>
                <c:pt idx="2538">
                  <c:v>43354</c:v>
                </c:pt>
                <c:pt idx="2539">
                  <c:v>43355</c:v>
                </c:pt>
                <c:pt idx="2540">
                  <c:v>43356</c:v>
                </c:pt>
                <c:pt idx="2541">
                  <c:v>43357</c:v>
                </c:pt>
                <c:pt idx="2542">
                  <c:v>43358</c:v>
                </c:pt>
                <c:pt idx="2543">
                  <c:v>43359</c:v>
                </c:pt>
                <c:pt idx="2544">
                  <c:v>43360</c:v>
                </c:pt>
                <c:pt idx="2545">
                  <c:v>43361</c:v>
                </c:pt>
                <c:pt idx="2546">
                  <c:v>43362</c:v>
                </c:pt>
                <c:pt idx="2547">
                  <c:v>43363</c:v>
                </c:pt>
                <c:pt idx="2548">
                  <c:v>43364</c:v>
                </c:pt>
                <c:pt idx="2549">
                  <c:v>43365</c:v>
                </c:pt>
                <c:pt idx="2550">
                  <c:v>43366</c:v>
                </c:pt>
                <c:pt idx="2551">
                  <c:v>43367</c:v>
                </c:pt>
                <c:pt idx="2552">
                  <c:v>43368</c:v>
                </c:pt>
                <c:pt idx="2553">
                  <c:v>43369</c:v>
                </c:pt>
                <c:pt idx="2554">
                  <c:v>43370</c:v>
                </c:pt>
                <c:pt idx="2555">
                  <c:v>43371</c:v>
                </c:pt>
                <c:pt idx="2556">
                  <c:v>43372</c:v>
                </c:pt>
                <c:pt idx="2557">
                  <c:v>43373</c:v>
                </c:pt>
                <c:pt idx="2558">
                  <c:v>43374</c:v>
                </c:pt>
                <c:pt idx="2559">
                  <c:v>43375</c:v>
                </c:pt>
                <c:pt idx="2560">
                  <c:v>43376</c:v>
                </c:pt>
                <c:pt idx="2561">
                  <c:v>43377</c:v>
                </c:pt>
                <c:pt idx="2562">
                  <c:v>43378</c:v>
                </c:pt>
                <c:pt idx="2563">
                  <c:v>43379</c:v>
                </c:pt>
                <c:pt idx="2564">
                  <c:v>43380</c:v>
                </c:pt>
                <c:pt idx="2565">
                  <c:v>43381</c:v>
                </c:pt>
                <c:pt idx="2566">
                  <c:v>43382</c:v>
                </c:pt>
                <c:pt idx="2567">
                  <c:v>43383</c:v>
                </c:pt>
                <c:pt idx="2568">
                  <c:v>43384</c:v>
                </c:pt>
                <c:pt idx="2569">
                  <c:v>43385</c:v>
                </c:pt>
                <c:pt idx="2570">
                  <c:v>43386</c:v>
                </c:pt>
                <c:pt idx="2571">
                  <c:v>43387</c:v>
                </c:pt>
                <c:pt idx="2572">
                  <c:v>43388</c:v>
                </c:pt>
                <c:pt idx="2573">
                  <c:v>43389</c:v>
                </c:pt>
                <c:pt idx="2574">
                  <c:v>43390</c:v>
                </c:pt>
                <c:pt idx="2575">
                  <c:v>43391</c:v>
                </c:pt>
                <c:pt idx="2576">
                  <c:v>43392</c:v>
                </c:pt>
                <c:pt idx="2577">
                  <c:v>43393</c:v>
                </c:pt>
                <c:pt idx="2578">
                  <c:v>43394</c:v>
                </c:pt>
                <c:pt idx="2579">
                  <c:v>43395</c:v>
                </c:pt>
                <c:pt idx="2580">
                  <c:v>43396</c:v>
                </c:pt>
                <c:pt idx="2581">
                  <c:v>43397</c:v>
                </c:pt>
                <c:pt idx="2582">
                  <c:v>43398</c:v>
                </c:pt>
                <c:pt idx="2583">
                  <c:v>43399</c:v>
                </c:pt>
                <c:pt idx="2584">
                  <c:v>43400</c:v>
                </c:pt>
                <c:pt idx="2585">
                  <c:v>43401</c:v>
                </c:pt>
                <c:pt idx="2586">
                  <c:v>43402</c:v>
                </c:pt>
                <c:pt idx="2587">
                  <c:v>43403</c:v>
                </c:pt>
                <c:pt idx="2588">
                  <c:v>43404</c:v>
                </c:pt>
                <c:pt idx="2589">
                  <c:v>43405</c:v>
                </c:pt>
                <c:pt idx="2590">
                  <c:v>43406</c:v>
                </c:pt>
                <c:pt idx="2591">
                  <c:v>43407</c:v>
                </c:pt>
                <c:pt idx="2592">
                  <c:v>43408</c:v>
                </c:pt>
                <c:pt idx="2593">
                  <c:v>43409</c:v>
                </c:pt>
                <c:pt idx="2594">
                  <c:v>43410</c:v>
                </c:pt>
                <c:pt idx="2595">
                  <c:v>43411</c:v>
                </c:pt>
                <c:pt idx="2596">
                  <c:v>43412</c:v>
                </c:pt>
                <c:pt idx="2597">
                  <c:v>43413</c:v>
                </c:pt>
                <c:pt idx="2598">
                  <c:v>43414</c:v>
                </c:pt>
                <c:pt idx="2599">
                  <c:v>43415</c:v>
                </c:pt>
                <c:pt idx="2600">
                  <c:v>43416</c:v>
                </c:pt>
                <c:pt idx="2601">
                  <c:v>43417</c:v>
                </c:pt>
                <c:pt idx="2602">
                  <c:v>43418</c:v>
                </c:pt>
                <c:pt idx="2603">
                  <c:v>43419</c:v>
                </c:pt>
                <c:pt idx="2604">
                  <c:v>43420</c:v>
                </c:pt>
                <c:pt idx="2605">
                  <c:v>43421</c:v>
                </c:pt>
                <c:pt idx="2606">
                  <c:v>43422</c:v>
                </c:pt>
                <c:pt idx="2607">
                  <c:v>43423</c:v>
                </c:pt>
                <c:pt idx="2608">
                  <c:v>43424</c:v>
                </c:pt>
                <c:pt idx="2609">
                  <c:v>43425</c:v>
                </c:pt>
                <c:pt idx="2610">
                  <c:v>43426</c:v>
                </c:pt>
                <c:pt idx="2611">
                  <c:v>43427</c:v>
                </c:pt>
                <c:pt idx="2612">
                  <c:v>43428</c:v>
                </c:pt>
                <c:pt idx="2613">
                  <c:v>43429</c:v>
                </c:pt>
                <c:pt idx="2614">
                  <c:v>43430</c:v>
                </c:pt>
                <c:pt idx="2615">
                  <c:v>43431</c:v>
                </c:pt>
                <c:pt idx="2616">
                  <c:v>43432</c:v>
                </c:pt>
                <c:pt idx="2617">
                  <c:v>43433</c:v>
                </c:pt>
                <c:pt idx="2618">
                  <c:v>43434</c:v>
                </c:pt>
                <c:pt idx="2619">
                  <c:v>43435</c:v>
                </c:pt>
                <c:pt idx="2620">
                  <c:v>43436</c:v>
                </c:pt>
                <c:pt idx="2621">
                  <c:v>43437</c:v>
                </c:pt>
                <c:pt idx="2622">
                  <c:v>43438</c:v>
                </c:pt>
                <c:pt idx="2623">
                  <c:v>43439</c:v>
                </c:pt>
                <c:pt idx="2624">
                  <c:v>43440</c:v>
                </c:pt>
                <c:pt idx="2625">
                  <c:v>43441</c:v>
                </c:pt>
                <c:pt idx="2626">
                  <c:v>43442</c:v>
                </c:pt>
                <c:pt idx="2627">
                  <c:v>43443</c:v>
                </c:pt>
                <c:pt idx="2628">
                  <c:v>43444</c:v>
                </c:pt>
                <c:pt idx="2629">
                  <c:v>43445</c:v>
                </c:pt>
                <c:pt idx="2630">
                  <c:v>43446</c:v>
                </c:pt>
                <c:pt idx="2631">
                  <c:v>43447</c:v>
                </c:pt>
                <c:pt idx="2632">
                  <c:v>43448</c:v>
                </c:pt>
                <c:pt idx="2633">
                  <c:v>43449</c:v>
                </c:pt>
                <c:pt idx="2634">
                  <c:v>43450</c:v>
                </c:pt>
                <c:pt idx="2635">
                  <c:v>43451</c:v>
                </c:pt>
                <c:pt idx="2636">
                  <c:v>43452</c:v>
                </c:pt>
                <c:pt idx="2637">
                  <c:v>43453</c:v>
                </c:pt>
                <c:pt idx="2638">
                  <c:v>43454</c:v>
                </c:pt>
                <c:pt idx="2639">
                  <c:v>43455</c:v>
                </c:pt>
                <c:pt idx="2640">
                  <c:v>43456</c:v>
                </c:pt>
                <c:pt idx="2641">
                  <c:v>43457</c:v>
                </c:pt>
                <c:pt idx="2642">
                  <c:v>43458</c:v>
                </c:pt>
                <c:pt idx="2643">
                  <c:v>43459</c:v>
                </c:pt>
                <c:pt idx="2644">
                  <c:v>43460</c:v>
                </c:pt>
                <c:pt idx="2645">
                  <c:v>43461</c:v>
                </c:pt>
                <c:pt idx="2646">
                  <c:v>43462</c:v>
                </c:pt>
                <c:pt idx="2647">
                  <c:v>43463</c:v>
                </c:pt>
                <c:pt idx="2648">
                  <c:v>43464</c:v>
                </c:pt>
                <c:pt idx="2649">
                  <c:v>43465</c:v>
                </c:pt>
                <c:pt idx="2650">
                  <c:v>43466</c:v>
                </c:pt>
                <c:pt idx="2651">
                  <c:v>43467</c:v>
                </c:pt>
                <c:pt idx="2652">
                  <c:v>43468</c:v>
                </c:pt>
                <c:pt idx="2653">
                  <c:v>43469</c:v>
                </c:pt>
                <c:pt idx="2654">
                  <c:v>43470</c:v>
                </c:pt>
                <c:pt idx="2655">
                  <c:v>43471</c:v>
                </c:pt>
                <c:pt idx="2656">
                  <c:v>43472</c:v>
                </c:pt>
                <c:pt idx="2657">
                  <c:v>43473</c:v>
                </c:pt>
                <c:pt idx="2658">
                  <c:v>43474</c:v>
                </c:pt>
                <c:pt idx="2659">
                  <c:v>43475</c:v>
                </c:pt>
                <c:pt idx="2660">
                  <c:v>43476</c:v>
                </c:pt>
                <c:pt idx="2661">
                  <c:v>43477</c:v>
                </c:pt>
                <c:pt idx="2662">
                  <c:v>43478</c:v>
                </c:pt>
                <c:pt idx="2663">
                  <c:v>43479</c:v>
                </c:pt>
                <c:pt idx="2664">
                  <c:v>43480</c:v>
                </c:pt>
                <c:pt idx="2665">
                  <c:v>43481</c:v>
                </c:pt>
                <c:pt idx="2666">
                  <c:v>43482</c:v>
                </c:pt>
                <c:pt idx="2667">
                  <c:v>43483</c:v>
                </c:pt>
                <c:pt idx="2668">
                  <c:v>43484</c:v>
                </c:pt>
                <c:pt idx="2669">
                  <c:v>43485</c:v>
                </c:pt>
                <c:pt idx="2670">
                  <c:v>43486</c:v>
                </c:pt>
                <c:pt idx="2671">
                  <c:v>43487</c:v>
                </c:pt>
                <c:pt idx="2672">
                  <c:v>43488</c:v>
                </c:pt>
                <c:pt idx="2673">
                  <c:v>43489</c:v>
                </c:pt>
                <c:pt idx="2674">
                  <c:v>43490</c:v>
                </c:pt>
                <c:pt idx="2675">
                  <c:v>43491</c:v>
                </c:pt>
                <c:pt idx="2676">
                  <c:v>43492</c:v>
                </c:pt>
                <c:pt idx="2677">
                  <c:v>43493</c:v>
                </c:pt>
                <c:pt idx="2678">
                  <c:v>43494</c:v>
                </c:pt>
                <c:pt idx="2679">
                  <c:v>43495</c:v>
                </c:pt>
                <c:pt idx="2680">
                  <c:v>43496</c:v>
                </c:pt>
                <c:pt idx="2681">
                  <c:v>43497</c:v>
                </c:pt>
                <c:pt idx="2682">
                  <c:v>43498</c:v>
                </c:pt>
                <c:pt idx="2683">
                  <c:v>43499</c:v>
                </c:pt>
                <c:pt idx="2684">
                  <c:v>43500</c:v>
                </c:pt>
                <c:pt idx="2685">
                  <c:v>43501</c:v>
                </c:pt>
                <c:pt idx="2686">
                  <c:v>43502</c:v>
                </c:pt>
                <c:pt idx="2687">
                  <c:v>43503</c:v>
                </c:pt>
                <c:pt idx="2688">
                  <c:v>43504</c:v>
                </c:pt>
                <c:pt idx="2689">
                  <c:v>43505</c:v>
                </c:pt>
                <c:pt idx="2690">
                  <c:v>43506</c:v>
                </c:pt>
                <c:pt idx="2691">
                  <c:v>43507</c:v>
                </c:pt>
                <c:pt idx="2692">
                  <c:v>43508</c:v>
                </c:pt>
                <c:pt idx="2693">
                  <c:v>43509</c:v>
                </c:pt>
                <c:pt idx="2694">
                  <c:v>43510</c:v>
                </c:pt>
                <c:pt idx="2695">
                  <c:v>43511</c:v>
                </c:pt>
                <c:pt idx="2696">
                  <c:v>43512</c:v>
                </c:pt>
                <c:pt idx="2697">
                  <c:v>43513</c:v>
                </c:pt>
                <c:pt idx="2698">
                  <c:v>43514</c:v>
                </c:pt>
                <c:pt idx="2699">
                  <c:v>43515</c:v>
                </c:pt>
                <c:pt idx="2700">
                  <c:v>43516</c:v>
                </c:pt>
                <c:pt idx="2701">
                  <c:v>43517</c:v>
                </c:pt>
                <c:pt idx="2702">
                  <c:v>43518</c:v>
                </c:pt>
                <c:pt idx="2703">
                  <c:v>43519</c:v>
                </c:pt>
                <c:pt idx="2704">
                  <c:v>43520</c:v>
                </c:pt>
                <c:pt idx="2705">
                  <c:v>43521</c:v>
                </c:pt>
                <c:pt idx="2706">
                  <c:v>43522</c:v>
                </c:pt>
                <c:pt idx="2707">
                  <c:v>43523</c:v>
                </c:pt>
                <c:pt idx="2708">
                  <c:v>43524</c:v>
                </c:pt>
                <c:pt idx="2709">
                  <c:v>43525</c:v>
                </c:pt>
                <c:pt idx="2710">
                  <c:v>43526</c:v>
                </c:pt>
                <c:pt idx="2711">
                  <c:v>43527</c:v>
                </c:pt>
                <c:pt idx="2712">
                  <c:v>43528</c:v>
                </c:pt>
                <c:pt idx="2713">
                  <c:v>43529</c:v>
                </c:pt>
                <c:pt idx="2714">
                  <c:v>43530</c:v>
                </c:pt>
                <c:pt idx="2715">
                  <c:v>43531</c:v>
                </c:pt>
                <c:pt idx="2716">
                  <c:v>43532</c:v>
                </c:pt>
                <c:pt idx="2717">
                  <c:v>43533</c:v>
                </c:pt>
                <c:pt idx="2718">
                  <c:v>43534</c:v>
                </c:pt>
                <c:pt idx="2719">
                  <c:v>43535</c:v>
                </c:pt>
                <c:pt idx="2720">
                  <c:v>43536</c:v>
                </c:pt>
                <c:pt idx="2721">
                  <c:v>43537</c:v>
                </c:pt>
                <c:pt idx="2722">
                  <c:v>43538</c:v>
                </c:pt>
                <c:pt idx="2723">
                  <c:v>43539</c:v>
                </c:pt>
                <c:pt idx="2724">
                  <c:v>43540</c:v>
                </c:pt>
                <c:pt idx="2725">
                  <c:v>43541</c:v>
                </c:pt>
                <c:pt idx="2726">
                  <c:v>43542</c:v>
                </c:pt>
                <c:pt idx="2727">
                  <c:v>43543</c:v>
                </c:pt>
                <c:pt idx="2728">
                  <c:v>43544</c:v>
                </c:pt>
                <c:pt idx="2729">
                  <c:v>43545</c:v>
                </c:pt>
                <c:pt idx="2730">
                  <c:v>43546</c:v>
                </c:pt>
                <c:pt idx="2731">
                  <c:v>43547</c:v>
                </c:pt>
                <c:pt idx="2732">
                  <c:v>43548</c:v>
                </c:pt>
                <c:pt idx="2733">
                  <c:v>43549</c:v>
                </c:pt>
                <c:pt idx="2734">
                  <c:v>43550</c:v>
                </c:pt>
                <c:pt idx="2735">
                  <c:v>43551</c:v>
                </c:pt>
                <c:pt idx="2736">
                  <c:v>43552</c:v>
                </c:pt>
                <c:pt idx="2737">
                  <c:v>43553</c:v>
                </c:pt>
                <c:pt idx="2738">
                  <c:v>43554</c:v>
                </c:pt>
                <c:pt idx="2739">
                  <c:v>43555</c:v>
                </c:pt>
                <c:pt idx="2740">
                  <c:v>43556</c:v>
                </c:pt>
                <c:pt idx="2741">
                  <c:v>43557</c:v>
                </c:pt>
                <c:pt idx="2742">
                  <c:v>43558</c:v>
                </c:pt>
                <c:pt idx="2743">
                  <c:v>43559</c:v>
                </c:pt>
                <c:pt idx="2744">
                  <c:v>43560</c:v>
                </c:pt>
                <c:pt idx="2745">
                  <c:v>43561</c:v>
                </c:pt>
                <c:pt idx="2746">
                  <c:v>43562</c:v>
                </c:pt>
                <c:pt idx="2747">
                  <c:v>43563</c:v>
                </c:pt>
                <c:pt idx="2748">
                  <c:v>43564</c:v>
                </c:pt>
                <c:pt idx="2749">
                  <c:v>43565</c:v>
                </c:pt>
                <c:pt idx="2750">
                  <c:v>43566</c:v>
                </c:pt>
                <c:pt idx="2751">
                  <c:v>43567</c:v>
                </c:pt>
                <c:pt idx="2752">
                  <c:v>43568</c:v>
                </c:pt>
                <c:pt idx="2753">
                  <c:v>43569</c:v>
                </c:pt>
                <c:pt idx="2754">
                  <c:v>43570</c:v>
                </c:pt>
                <c:pt idx="2755">
                  <c:v>43571</c:v>
                </c:pt>
                <c:pt idx="2756">
                  <c:v>43572</c:v>
                </c:pt>
                <c:pt idx="2757">
                  <c:v>43573</c:v>
                </c:pt>
                <c:pt idx="2758">
                  <c:v>43574</c:v>
                </c:pt>
                <c:pt idx="2759">
                  <c:v>43575</c:v>
                </c:pt>
                <c:pt idx="2760">
                  <c:v>43576</c:v>
                </c:pt>
                <c:pt idx="2761">
                  <c:v>43577</c:v>
                </c:pt>
                <c:pt idx="2762">
                  <c:v>43578</c:v>
                </c:pt>
                <c:pt idx="2763">
                  <c:v>43579</c:v>
                </c:pt>
                <c:pt idx="2764">
                  <c:v>43580</c:v>
                </c:pt>
                <c:pt idx="2765">
                  <c:v>43581</c:v>
                </c:pt>
                <c:pt idx="2766">
                  <c:v>43582</c:v>
                </c:pt>
                <c:pt idx="2767">
                  <c:v>43583</c:v>
                </c:pt>
                <c:pt idx="2768">
                  <c:v>43584</c:v>
                </c:pt>
                <c:pt idx="2769">
                  <c:v>43585</c:v>
                </c:pt>
                <c:pt idx="2770">
                  <c:v>43586</c:v>
                </c:pt>
                <c:pt idx="2771">
                  <c:v>43587</c:v>
                </c:pt>
                <c:pt idx="2772">
                  <c:v>43588</c:v>
                </c:pt>
                <c:pt idx="2773">
                  <c:v>43589</c:v>
                </c:pt>
                <c:pt idx="2774">
                  <c:v>43590</c:v>
                </c:pt>
                <c:pt idx="2775">
                  <c:v>43591</c:v>
                </c:pt>
                <c:pt idx="2776">
                  <c:v>43592</c:v>
                </c:pt>
                <c:pt idx="2777">
                  <c:v>43593</c:v>
                </c:pt>
                <c:pt idx="2778">
                  <c:v>43594</c:v>
                </c:pt>
                <c:pt idx="2779">
                  <c:v>43595</c:v>
                </c:pt>
                <c:pt idx="2780">
                  <c:v>43596</c:v>
                </c:pt>
                <c:pt idx="2781">
                  <c:v>43597</c:v>
                </c:pt>
                <c:pt idx="2782">
                  <c:v>43598</c:v>
                </c:pt>
                <c:pt idx="2783">
                  <c:v>43599</c:v>
                </c:pt>
                <c:pt idx="2784">
                  <c:v>43600</c:v>
                </c:pt>
                <c:pt idx="2785">
                  <c:v>43601</c:v>
                </c:pt>
                <c:pt idx="2786">
                  <c:v>43602</c:v>
                </c:pt>
                <c:pt idx="2787">
                  <c:v>43603</c:v>
                </c:pt>
                <c:pt idx="2788">
                  <c:v>43604</c:v>
                </c:pt>
                <c:pt idx="2789">
                  <c:v>43605</c:v>
                </c:pt>
                <c:pt idx="2790">
                  <c:v>43606</c:v>
                </c:pt>
                <c:pt idx="2791">
                  <c:v>43607</c:v>
                </c:pt>
                <c:pt idx="2792">
                  <c:v>43608</c:v>
                </c:pt>
                <c:pt idx="2793">
                  <c:v>43609</c:v>
                </c:pt>
                <c:pt idx="2794">
                  <c:v>43610</c:v>
                </c:pt>
                <c:pt idx="2795">
                  <c:v>43611</c:v>
                </c:pt>
                <c:pt idx="2796">
                  <c:v>43612</c:v>
                </c:pt>
                <c:pt idx="2797">
                  <c:v>43613</c:v>
                </c:pt>
                <c:pt idx="2798">
                  <c:v>43614</c:v>
                </c:pt>
                <c:pt idx="2799">
                  <c:v>43615</c:v>
                </c:pt>
                <c:pt idx="2800">
                  <c:v>43616</c:v>
                </c:pt>
                <c:pt idx="2801">
                  <c:v>43617</c:v>
                </c:pt>
                <c:pt idx="2802">
                  <c:v>43618</c:v>
                </c:pt>
                <c:pt idx="2803">
                  <c:v>43619</c:v>
                </c:pt>
                <c:pt idx="2804">
                  <c:v>43620</c:v>
                </c:pt>
                <c:pt idx="2805">
                  <c:v>43621</c:v>
                </c:pt>
                <c:pt idx="2806">
                  <c:v>43622</c:v>
                </c:pt>
                <c:pt idx="2807">
                  <c:v>43623</c:v>
                </c:pt>
                <c:pt idx="2808">
                  <c:v>43624</c:v>
                </c:pt>
                <c:pt idx="2809">
                  <c:v>43625</c:v>
                </c:pt>
                <c:pt idx="2810">
                  <c:v>43626</c:v>
                </c:pt>
                <c:pt idx="2811">
                  <c:v>43627</c:v>
                </c:pt>
                <c:pt idx="2812">
                  <c:v>43628</c:v>
                </c:pt>
                <c:pt idx="2813">
                  <c:v>43629</c:v>
                </c:pt>
                <c:pt idx="2814">
                  <c:v>43630</c:v>
                </c:pt>
                <c:pt idx="2815">
                  <c:v>43631</c:v>
                </c:pt>
                <c:pt idx="2816">
                  <c:v>43632</c:v>
                </c:pt>
                <c:pt idx="2817">
                  <c:v>43633</c:v>
                </c:pt>
                <c:pt idx="2818">
                  <c:v>43634</c:v>
                </c:pt>
                <c:pt idx="2819">
                  <c:v>43635</c:v>
                </c:pt>
                <c:pt idx="2820">
                  <c:v>43636</c:v>
                </c:pt>
                <c:pt idx="2821">
                  <c:v>43637</c:v>
                </c:pt>
                <c:pt idx="2822">
                  <c:v>43638</c:v>
                </c:pt>
                <c:pt idx="2823">
                  <c:v>43639</c:v>
                </c:pt>
                <c:pt idx="2824">
                  <c:v>43640</c:v>
                </c:pt>
                <c:pt idx="2825">
                  <c:v>43641</c:v>
                </c:pt>
                <c:pt idx="2826">
                  <c:v>43642</c:v>
                </c:pt>
                <c:pt idx="2827">
                  <c:v>43643</c:v>
                </c:pt>
                <c:pt idx="2828">
                  <c:v>43644</c:v>
                </c:pt>
                <c:pt idx="2829">
                  <c:v>43645</c:v>
                </c:pt>
                <c:pt idx="2830">
                  <c:v>43646</c:v>
                </c:pt>
                <c:pt idx="2831">
                  <c:v>43647</c:v>
                </c:pt>
                <c:pt idx="2832">
                  <c:v>43648</c:v>
                </c:pt>
                <c:pt idx="2833">
                  <c:v>43649</c:v>
                </c:pt>
                <c:pt idx="2834">
                  <c:v>43650</c:v>
                </c:pt>
                <c:pt idx="2835">
                  <c:v>43651</c:v>
                </c:pt>
                <c:pt idx="2836">
                  <c:v>43652</c:v>
                </c:pt>
                <c:pt idx="2837">
                  <c:v>43653</c:v>
                </c:pt>
                <c:pt idx="2838">
                  <c:v>43654</c:v>
                </c:pt>
                <c:pt idx="2839">
                  <c:v>43655</c:v>
                </c:pt>
                <c:pt idx="2840">
                  <c:v>43656</c:v>
                </c:pt>
                <c:pt idx="2841">
                  <c:v>43657</c:v>
                </c:pt>
                <c:pt idx="2842">
                  <c:v>43658</c:v>
                </c:pt>
                <c:pt idx="2843">
                  <c:v>43659</c:v>
                </c:pt>
                <c:pt idx="2844">
                  <c:v>43660</c:v>
                </c:pt>
                <c:pt idx="2845">
                  <c:v>43661</c:v>
                </c:pt>
                <c:pt idx="2846">
                  <c:v>43662</c:v>
                </c:pt>
                <c:pt idx="2847">
                  <c:v>43663</c:v>
                </c:pt>
                <c:pt idx="2848">
                  <c:v>43664</c:v>
                </c:pt>
                <c:pt idx="2849">
                  <c:v>43665</c:v>
                </c:pt>
                <c:pt idx="2850">
                  <c:v>43666</c:v>
                </c:pt>
                <c:pt idx="2851">
                  <c:v>43667</c:v>
                </c:pt>
                <c:pt idx="2852">
                  <c:v>43668</c:v>
                </c:pt>
                <c:pt idx="2853">
                  <c:v>43669</c:v>
                </c:pt>
                <c:pt idx="2854">
                  <c:v>43670</c:v>
                </c:pt>
                <c:pt idx="2855">
                  <c:v>43671</c:v>
                </c:pt>
                <c:pt idx="2856">
                  <c:v>43672</c:v>
                </c:pt>
                <c:pt idx="2857">
                  <c:v>43673</c:v>
                </c:pt>
                <c:pt idx="2858">
                  <c:v>43674</c:v>
                </c:pt>
                <c:pt idx="2859">
                  <c:v>43675</c:v>
                </c:pt>
                <c:pt idx="2860">
                  <c:v>43676</c:v>
                </c:pt>
                <c:pt idx="2861">
                  <c:v>43677</c:v>
                </c:pt>
                <c:pt idx="2862">
                  <c:v>43678</c:v>
                </c:pt>
                <c:pt idx="2863">
                  <c:v>43679</c:v>
                </c:pt>
                <c:pt idx="2864">
                  <c:v>43680</c:v>
                </c:pt>
                <c:pt idx="2865">
                  <c:v>43681</c:v>
                </c:pt>
                <c:pt idx="2866">
                  <c:v>43682</c:v>
                </c:pt>
                <c:pt idx="2867">
                  <c:v>43683</c:v>
                </c:pt>
                <c:pt idx="2868">
                  <c:v>43684</c:v>
                </c:pt>
                <c:pt idx="2869">
                  <c:v>43685</c:v>
                </c:pt>
                <c:pt idx="2870">
                  <c:v>43686</c:v>
                </c:pt>
                <c:pt idx="2871">
                  <c:v>43687</c:v>
                </c:pt>
                <c:pt idx="2872">
                  <c:v>43688</c:v>
                </c:pt>
                <c:pt idx="2873">
                  <c:v>43689</c:v>
                </c:pt>
                <c:pt idx="2874">
                  <c:v>43690</c:v>
                </c:pt>
                <c:pt idx="2875">
                  <c:v>43691</c:v>
                </c:pt>
                <c:pt idx="2876">
                  <c:v>43692</c:v>
                </c:pt>
                <c:pt idx="2877">
                  <c:v>43693</c:v>
                </c:pt>
                <c:pt idx="2878">
                  <c:v>43694</c:v>
                </c:pt>
                <c:pt idx="2879">
                  <c:v>43695</c:v>
                </c:pt>
                <c:pt idx="2880">
                  <c:v>43696</c:v>
                </c:pt>
                <c:pt idx="2881">
                  <c:v>43697</c:v>
                </c:pt>
                <c:pt idx="2882">
                  <c:v>43698</c:v>
                </c:pt>
                <c:pt idx="2883">
                  <c:v>43699</c:v>
                </c:pt>
                <c:pt idx="2884">
                  <c:v>43700</c:v>
                </c:pt>
                <c:pt idx="2885">
                  <c:v>43701</c:v>
                </c:pt>
                <c:pt idx="2886">
                  <c:v>43702</c:v>
                </c:pt>
                <c:pt idx="2887">
                  <c:v>43703</c:v>
                </c:pt>
                <c:pt idx="2888">
                  <c:v>43704</c:v>
                </c:pt>
                <c:pt idx="2889">
                  <c:v>43705</c:v>
                </c:pt>
                <c:pt idx="2890">
                  <c:v>43706</c:v>
                </c:pt>
                <c:pt idx="2891">
                  <c:v>43707</c:v>
                </c:pt>
                <c:pt idx="2892">
                  <c:v>43708</c:v>
                </c:pt>
                <c:pt idx="2893">
                  <c:v>43709</c:v>
                </c:pt>
                <c:pt idx="2894">
                  <c:v>43710</c:v>
                </c:pt>
                <c:pt idx="2895">
                  <c:v>43711</c:v>
                </c:pt>
                <c:pt idx="2896">
                  <c:v>43712</c:v>
                </c:pt>
                <c:pt idx="2897">
                  <c:v>43713</c:v>
                </c:pt>
                <c:pt idx="2898">
                  <c:v>43714</c:v>
                </c:pt>
                <c:pt idx="2899">
                  <c:v>43715</c:v>
                </c:pt>
                <c:pt idx="2900">
                  <c:v>43716</c:v>
                </c:pt>
                <c:pt idx="2901">
                  <c:v>43717</c:v>
                </c:pt>
                <c:pt idx="2902">
                  <c:v>43718</c:v>
                </c:pt>
                <c:pt idx="2903">
                  <c:v>43719</c:v>
                </c:pt>
                <c:pt idx="2904">
                  <c:v>43720</c:v>
                </c:pt>
                <c:pt idx="2905">
                  <c:v>43721</c:v>
                </c:pt>
                <c:pt idx="2906">
                  <c:v>43722</c:v>
                </c:pt>
                <c:pt idx="2907">
                  <c:v>43723</c:v>
                </c:pt>
                <c:pt idx="2908">
                  <c:v>43724</c:v>
                </c:pt>
                <c:pt idx="2909">
                  <c:v>43725</c:v>
                </c:pt>
                <c:pt idx="2910">
                  <c:v>43726</c:v>
                </c:pt>
                <c:pt idx="2911">
                  <c:v>43727</c:v>
                </c:pt>
                <c:pt idx="2912">
                  <c:v>43728</c:v>
                </c:pt>
                <c:pt idx="2913">
                  <c:v>43729</c:v>
                </c:pt>
                <c:pt idx="2914">
                  <c:v>43730</c:v>
                </c:pt>
                <c:pt idx="2915">
                  <c:v>43731</c:v>
                </c:pt>
                <c:pt idx="2916">
                  <c:v>43732</c:v>
                </c:pt>
                <c:pt idx="2917">
                  <c:v>43733</c:v>
                </c:pt>
                <c:pt idx="2918">
                  <c:v>43734</c:v>
                </c:pt>
                <c:pt idx="2919">
                  <c:v>43735</c:v>
                </c:pt>
                <c:pt idx="2920">
                  <c:v>43736</c:v>
                </c:pt>
                <c:pt idx="2921">
                  <c:v>43737</c:v>
                </c:pt>
                <c:pt idx="2922">
                  <c:v>43738</c:v>
                </c:pt>
                <c:pt idx="2923">
                  <c:v>43739</c:v>
                </c:pt>
                <c:pt idx="2924">
                  <c:v>43740</c:v>
                </c:pt>
                <c:pt idx="2925">
                  <c:v>43741</c:v>
                </c:pt>
                <c:pt idx="2926">
                  <c:v>43742</c:v>
                </c:pt>
                <c:pt idx="2927">
                  <c:v>43743</c:v>
                </c:pt>
                <c:pt idx="2928">
                  <c:v>43744</c:v>
                </c:pt>
                <c:pt idx="2929">
                  <c:v>43745</c:v>
                </c:pt>
                <c:pt idx="2930">
                  <c:v>43746</c:v>
                </c:pt>
                <c:pt idx="2931">
                  <c:v>43747</c:v>
                </c:pt>
                <c:pt idx="2932">
                  <c:v>43748</c:v>
                </c:pt>
                <c:pt idx="2933">
                  <c:v>43749</c:v>
                </c:pt>
                <c:pt idx="2934">
                  <c:v>43750</c:v>
                </c:pt>
                <c:pt idx="2935">
                  <c:v>43751</c:v>
                </c:pt>
                <c:pt idx="2936">
                  <c:v>43752</c:v>
                </c:pt>
                <c:pt idx="2937">
                  <c:v>43753</c:v>
                </c:pt>
                <c:pt idx="2938">
                  <c:v>43754</c:v>
                </c:pt>
                <c:pt idx="2939">
                  <c:v>43755</c:v>
                </c:pt>
                <c:pt idx="2940">
                  <c:v>43756</c:v>
                </c:pt>
                <c:pt idx="2941">
                  <c:v>43757</c:v>
                </c:pt>
                <c:pt idx="2942">
                  <c:v>43758</c:v>
                </c:pt>
                <c:pt idx="2943">
                  <c:v>43759</c:v>
                </c:pt>
                <c:pt idx="2944">
                  <c:v>43760</c:v>
                </c:pt>
                <c:pt idx="2945">
                  <c:v>43761</c:v>
                </c:pt>
                <c:pt idx="2946">
                  <c:v>43762</c:v>
                </c:pt>
                <c:pt idx="2947">
                  <c:v>43763</c:v>
                </c:pt>
                <c:pt idx="2948">
                  <c:v>43764</c:v>
                </c:pt>
                <c:pt idx="2949">
                  <c:v>43765</c:v>
                </c:pt>
                <c:pt idx="2950">
                  <c:v>43766</c:v>
                </c:pt>
                <c:pt idx="2951">
                  <c:v>43767</c:v>
                </c:pt>
                <c:pt idx="2952">
                  <c:v>43768</c:v>
                </c:pt>
                <c:pt idx="2953">
                  <c:v>43769</c:v>
                </c:pt>
                <c:pt idx="2954">
                  <c:v>43770</c:v>
                </c:pt>
                <c:pt idx="2955">
                  <c:v>43771</c:v>
                </c:pt>
                <c:pt idx="2956">
                  <c:v>43772</c:v>
                </c:pt>
                <c:pt idx="2957">
                  <c:v>43773</c:v>
                </c:pt>
                <c:pt idx="2958">
                  <c:v>43774</c:v>
                </c:pt>
                <c:pt idx="2959">
                  <c:v>43775</c:v>
                </c:pt>
                <c:pt idx="2960">
                  <c:v>43776</c:v>
                </c:pt>
                <c:pt idx="2961">
                  <c:v>43777</c:v>
                </c:pt>
                <c:pt idx="2962">
                  <c:v>43778</c:v>
                </c:pt>
                <c:pt idx="2963">
                  <c:v>43779</c:v>
                </c:pt>
                <c:pt idx="2964">
                  <c:v>43780</c:v>
                </c:pt>
                <c:pt idx="2965">
                  <c:v>43781</c:v>
                </c:pt>
                <c:pt idx="2966">
                  <c:v>43782</c:v>
                </c:pt>
                <c:pt idx="2967">
                  <c:v>43783</c:v>
                </c:pt>
                <c:pt idx="2968">
                  <c:v>43784</c:v>
                </c:pt>
                <c:pt idx="2969">
                  <c:v>43785</c:v>
                </c:pt>
                <c:pt idx="2970">
                  <c:v>43786</c:v>
                </c:pt>
                <c:pt idx="2971">
                  <c:v>43787</c:v>
                </c:pt>
                <c:pt idx="2972">
                  <c:v>43788</c:v>
                </c:pt>
                <c:pt idx="2973">
                  <c:v>43789</c:v>
                </c:pt>
                <c:pt idx="2974">
                  <c:v>43790</c:v>
                </c:pt>
                <c:pt idx="2975">
                  <c:v>43791</c:v>
                </c:pt>
                <c:pt idx="2976">
                  <c:v>43792</c:v>
                </c:pt>
                <c:pt idx="2977">
                  <c:v>43793</c:v>
                </c:pt>
                <c:pt idx="2978">
                  <c:v>43794</c:v>
                </c:pt>
                <c:pt idx="2979">
                  <c:v>43795</c:v>
                </c:pt>
                <c:pt idx="2980">
                  <c:v>43796</c:v>
                </c:pt>
                <c:pt idx="2981">
                  <c:v>43797</c:v>
                </c:pt>
                <c:pt idx="2982">
                  <c:v>43798</c:v>
                </c:pt>
                <c:pt idx="2983">
                  <c:v>43799</c:v>
                </c:pt>
                <c:pt idx="2984">
                  <c:v>43800</c:v>
                </c:pt>
                <c:pt idx="2985">
                  <c:v>43801</c:v>
                </c:pt>
                <c:pt idx="2986">
                  <c:v>43802</c:v>
                </c:pt>
                <c:pt idx="2987">
                  <c:v>43803</c:v>
                </c:pt>
                <c:pt idx="2988">
                  <c:v>43804</c:v>
                </c:pt>
                <c:pt idx="2989">
                  <c:v>43805</c:v>
                </c:pt>
                <c:pt idx="2990">
                  <c:v>43806</c:v>
                </c:pt>
                <c:pt idx="2991">
                  <c:v>43807</c:v>
                </c:pt>
                <c:pt idx="2992">
                  <c:v>43808</c:v>
                </c:pt>
                <c:pt idx="2993">
                  <c:v>43809</c:v>
                </c:pt>
                <c:pt idx="2994">
                  <c:v>43810</c:v>
                </c:pt>
                <c:pt idx="2995">
                  <c:v>43811</c:v>
                </c:pt>
                <c:pt idx="2996">
                  <c:v>43812</c:v>
                </c:pt>
                <c:pt idx="2997">
                  <c:v>43813</c:v>
                </c:pt>
                <c:pt idx="2998">
                  <c:v>43814</c:v>
                </c:pt>
                <c:pt idx="2999">
                  <c:v>43815</c:v>
                </c:pt>
                <c:pt idx="3000">
                  <c:v>43816</c:v>
                </c:pt>
                <c:pt idx="3001">
                  <c:v>43817</c:v>
                </c:pt>
                <c:pt idx="3002">
                  <c:v>43818</c:v>
                </c:pt>
                <c:pt idx="3003">
                  <c:v>43819</c:v>
                </c:pt>
                <c:pt idx="3004">
                  <c:v>43820</c:v>
                </c:pt>
                <c:pt idx="3005">
                  <c:v>43821</c:v>
                </c:pt>
                <c:pt idx="3006">
                  <c:v>43822</c:v>
                </c:pt>
                <c:pt idx="3007">
                  <c:v>43823</c:v>
                </c:pt>
                <c:pt idx="3008">
                  <c:v>43824</c:v>
                </c:pt>
                <c:pt idx="3009">
                  <c:v>43825</c:v>
                </c:pt>
                <c:pt idx="3010">
                  <c:v>43826</c:v>
                </c:pt>
                <c:pt idx="3011">
                  <c:v>43827</c:v>
                </c:pt>
                <c:pt idx="3012">
                  <c:v>43828</c:v>
                </c:pt>
                <c:pt idx="3013">
                  <c:v>43829</c:v>
                </c:pt>
                <c:pt idx="3014">
                  <c:v>43830</c:v>
                </c:pt>
                <c:pt idx="3015">
                  <c:v>43831</c:v>
                </c:pt>
                <c:pt idx="3016">
                  <c:v>43832</c:v>
                </c:pt>
                <c:pt idx="3017">
                  <c:v>43833</c:v>
                </c:pt>
                <c:pt idx="3018">
                  <c:v>43834</c:v>
                </c:pt>
                <c:pt idx="3019">
                  <c:v>43835</c:v>
                </c:pt>
                <c:pt idx="3020">
                  <c:v>43836</c:v>
                </c:pt>
                <c:pt idx="3021">
                  <c:v>43837</c:v>
                </c:pt>
                <c:pt idx="3022">
                  <c:v>43838</c:v>
                </c:pt>
                <c:pt idx="3023">
                  <c:v>43839</c:v>
                </c:pt>
                <c:pt idx="3024">
                  <c:v>43840</c:v>
                </c:pt>
                <c:pt idx="3025">
                  <c:v>43841</c:v>
                </c:pt>
                <c:pt idx="3026">
                  <c:v>43842</c:v>
                </c:pt>
                <c:pt idx="3027">
                  <c:v>43843</c:v>
                </c:pt>
                <c:pt idx="3028">
                  <c:v>43844</c:v>
                </c:pt>
                <c:pt idx="3029">
                  <c:v>43845</c:v>
                </c:pt>
                <c:pt idx="3030">
                  <c:v>43846</c:v>
                </c:pt>
                <c:pt idx="3031">
                  <c:v>43847</c:v>
                </c:pt>
                <c:pt idx="3032">
                  <c:v>43848</c:v>
                </c:pt>
                <c:pt idx="3033">
                  <c:v>43849</c:v>
                </c:pt>
                <c:pt idx="3034">
                  <c:v>43850</c:v>
                </c:pt>
                <c:pt idx="3035">
                  <c:v>43851</c:v>
                </c:pt>
                <c:pt idx="3036">
                  <c:v>43852</c:v>
                </c:pt>
                <c:pt idx="3037">
                  <c:v>43853</c:v>
                </c:pt>
                <c:pt idx="3038">
                  <c:v>43854</c:v>
                </c:pt>
                <c:pt idx="3039">
                  <c:v>43855</c:v>
                </c:pt>
                <c:pt idx="3040">
                  <c:v>43856</c:v>
                </c:pt>
                <c:pt idx="3041">
                  <c:v>43857</c:v>
                </c:pt>
                <c:pt idx="3042">
                  <c:v>43858</c:v>
                </c:pt>
                <c:pt idx="3043">
                  <c:v>43859</c:v>
                </c:pt>
                <c:pt idx="3044">
                  <c:v>43860</c:v>
                </c:pt>
                <c:pt idx="3045">
                  <c:v>43861</c:v>
                </c:pt>
                <c:pt idx="3046">
                  <c:v>43862</c:v>
                </c:pt>
                <c:pt idx="3047">
                  <c:v>43863</c:v>
                </c:pt>
                <c:pt idx="3048">
                  <c:v>43864</c:v>
                </c:pt>
                <c:pt idx="3049">
                  <c:v>43865</c:v>
                </c:pt>
                <c:pt idx="3050">
                  <c:v>43866</c:v>
                </c:pt>
                <c:pt idx="3051">
                  <c:v>43867</c:v>
                </c:pt>
                <c:pt idx="3052">
                  <c:v>43868</c:v>
                </c:pt>
                <c:pt idx="3053">
                  <c:v>43869</c:v>
                </c:pt>
                <c:pt idx="3054">
                  <c:v>43870</c:v>
                </c:pt>
                <c:pt idx="3055">
                  <c:v>43871</c:v>
                </c:pt>
                <c:pt idx="3056">
                  <c:v>43872</c:v>
                </c:pt>
                <c:pt idx="3057">
                  <c:v>43873</c:v>
                </c:pt>
                <c:pt idx="3058">
                  <c:v>43874</c:v>
                </c:pt>
                <c:pt idx="3059">
                  <c:v>43875</c:v>
                </c:pt>
                <c:pt idx="3060">
                  <c:v>43876</c:v>
                </c:pt>
                <c:pt idx="3061">
                  <c:v>43877</c:v>
                </c:pt>
                <c:pt idx="3062">
                  <c:v>43878</c:v>
                </c:pt>
                <c:pt idx="3063">
                  <c:v>43879</c:v>
                </c:pt>
                <c:pt idx="3064">
                  <c:v>43880</c:v>
                </c:pt>
                <c:pt idx="3065">
                  <c:v>43881</c:v>
                </c:pt>
                <c:pt idx="3066">
                  <c:v>43882</c:v>
                </c:pt>
                <c:pt idx="3067">
                  <c:v>43883</c:v>
                </c:pt>
                <c:pt idx="3068">
                  <c:v>43884</c:v>
                </c:pt>
                <c:pt idx="3069">
                  <c:v>43885</c:v>
                </c:pt>
                <c:pt idx="3070">
                  <c:v>43886</c:v>
                </c:pt>
                <c:pt idx="3071">
                  <c:v>43887</c:v>
                </c:pt>
                <c:pt idx="3072">
                  <c:v>43888</c:v>
                </c:pt>
                <c:pt idx="3073">
                  <c:v>43889</c:v>
                </c:pt>
                <c:pt idx="3074">
                  <c:v>43890</c:v>
                </c:pt>
                <c:pt idx="3075">
                  <c:v>43891</c:v>
                </c:pt>
                <c:pt idx="3076">
                  <c:v>43892</c:v>
                </c:pt>
                <c:pt idx="3077">
                  <c:v>43893</c:v>
                </c:pt>
                <c:pt idx="3078">
                  <c:v>43894</c:v>
                </c:pt>
                <c:pt idx="3079">
                  <c:v>43895</c:v>
                </c:pt>
                <c:pt idx="3080">
                  <c:v>43896</c:v>
                </c:pt>
                <c:pt idx="3081">
                  <c:v>43897</c:v>
                </c:pt>
                <c:pt idx="3082">
                  <c:v>43898</c:v>
                </c:pt>
                <c:pt idx="3083">
                  <c:v>43899</c:v>
                </c:pt>
                <c:pt idx="3084">
                  <c:v>43900</c:v>
                </c:pt>
                <c:pt idx="3085">
                  <c:v>43901</c:v>
                </c:pt>
                <c:pt idx="3086">
                  <c:v>43902</c:v>
                </c:pt>
                <c:pt idx="3087">
                  <c:v>43903</c:v>
                </c:pt>
                <c:pt idx="3088">
                  <c:v>43904</c:v>
                </c:pt>
                <c:pt idx="3089">
                  <c:v>43905</c:v>
                </c:pt>
                <c:pt idx="3090">
                  <c:v>43906</c:v>
                </c:pt>
                <c:pt idx="3091">
                  <c:v>43907</c:v>
                </c:pt>
                <c:pt idx="3092">
                  <c:v>43908</c:v>
                </c:pt>
                <c:pt idx="3093">
                  <c:v>43909</c:v>
                </c:pt>
                <c:pt idx="3094">
                  <c:v>43910</c:v>
                </c:pt>
                <c:pt idx="3095">
                  <c:v>43911</c:v>
                </c:pt>
                <c:pt idx="3096">
                  <c:v>43912</c:v>
                </c:pt>
                <c:pt idx="3097">
                  <c:v>43913</c:v>
                </c:pt>
                <c:pt idx="3098">
                  <c:v>43914</c:v>
                </c:pt>
                <c:pt idx="3099">
                  <c:v>43915</c:v>
                </c:pt>
                <c:pt idx="3100">
                  <c:v>43916</c:v>
                </c:pt>
                <c:pt idx="3101">
                  <c:v>43917</c:v>
                </c:pt>
                <c:pt idx="3102">
                  <c:v>43918</c:v>
                </c:pt>
                <c:pt idx="3103">
                  <c:v>43919</c:v>
                </c:pt>
                <c:pt idx="3104">
                  <c:v>43920</c:v>
                </c:pt>
                <c:pt idx="3105">
                  <c:v>43921</c:v>
                </c:pt>
                <c:pt idx="3106">
                  <c:v>43922</c:v>
                </c:pt>
                <c:pt idx="3107">
                  <c:v>43923</c:v>
                </c:pt>
                <c:pt idx="3108">
                  <c:v>43924</c:v>
                </c:pt>
                <c:pt idx="3109">
                  <c:v>43925</c:v>
                </c:pt>
                <c:pt idx="3110">
                  <c:v>43926</c:v>
                </c:pt>
                <c:pt idx="3111">
                  <c:v>43927</c:v>
                </c:pt>
                <c:pt idx="3112">
                  <c:v>43928</c:v>
                </c:pt>
                <c:pt idx="3113">
                  <c:v>43929</c:v>
                </c:pt>
                <c:pt idx="3114">
                  <c:v>43930</c:v>
                </c:pt>
                <c:pt idx="3115">
                  <c:v>43931</c:v>
                </c:pt>
                <c:pt idx="3116">
                  <c:v>43932</c:v>
                </c:pt>
                <c:pt idx="3117">
                  <c:v>43933</c:v>
                </c:pt>
                <c:pt idx="3118">
                  <c:v>43934</c:v>
                </c:pt>
                <c:pt idx="3119">
                  <c:v>43935</c:v>
                </c:pt>
                <c:pt idx="3120">
                  <c:v>43936</c:v>
                </c:pt>
                <c:pt idx="3121">
                  <c:v>43937</c:v>
                </c:pt>
                <c:pt idx="3122">
                  <c:v>43938</c:v>
                </c:pt>
                <c:pt idx="3123">
                  <c:v>43939</c:v>
                </c:pt>
                <c:pt idx="3124">
                  <c:v>43940</c:v>
                </c:pt>
                <c:pt idx="3125">
                  <c:v>43941</c:v>
                </c:pt>
                <c:pt idx="3126">
                  <c:v>43942</c:v>
                </c:pt>
                <c:pt idx="3127">
                  <c:v>43943</c:v>
                </c:pt>
                <c:pt idx="3128">
                  <c:v>43944</c:v>
                </c:pt>
                <c:pt idx="3129">
                  <c:v>43945</c:v>
                </c:pt>
                <c:pt idx="3130">
                  <c:v>43946</c:v>
                </c:pt>
                <c:pt idx="3131">
                  <c:v>43947</c:v>
                </c:pt>
                <c:pt idx="3132">
                  <c:v>43948</c:v>
                </c:pt>
                <c:pt idx="3133">
                  <c:v>43949</c:v>
                </c:pt>
                <c:pt idx="3134">
                  <c:v>43950</c:v>
                </c:pt>
                <c:pt idx="3135">
                  <c:v>43951</c:v>
                </c:pt>
                <c:pt idx="3136">
                  <c:v>43952</c:v>
                </c:pt>
                <c:pt idx="3137">
                  <c:v>43953</c:v>
                </c:pt>
                <c:pt idx="3138">
                  <c:v>43954</c:v>
                </c:pt>
                <c:pt idx="3139">
                  <c:v>43955</c:v>
                </c:pt>
                <c:pt idx="3140">
                  <c:v>43956</c:v>
                </c:pt>
                <c:pt idx="3141">
                  <c:v>43957</c:v>
                </c:pt>
                <c:pt idx="3142">
                  <c:v>43958</c:v>
                </c:pt>
                <c:pt idx="3143">
                  <c:v>43959</c:v>
                </c:pt>
                <c:pt idx="3144">
                  <c:v>43960</c:v>
                </c:pt>
                <c:pt idx="3145">
                  <c:v>43961</c:v>
                </c:pt>
                <c:pt idx="3146">
                  <c:v>43962</c:v>
                </c:pt>
                <c:pt idx="3147">
                  <c:v>43963</c:v>
                </c:pt>
                <c:pt idx="3148">
                  <c:v>43964</c:v>
                </c:pt>
                <c:pt idx="3149">
                  <c:v>43965</c:v>
                </c:pt>
                <c:pt idx="3150">
                  <c:v>43966</c:v>
                </c:pt>
                <c:pt idx="3151">
                  <c:v>43967</c:v>
                </c:pt>
                <c:pt idx="3152">
                  <c:v>43968</c:v>
                </c:pt>
                <c:pt idx="3153">
                  <c:v>43969</c:v>
                </c:pt>
                <c:pt idx="3154">
                  <c:v>43970</c:v>
                </c:pt>
                <c:pt idx="3155">
                  <c:v>43971</c:v>
                </c:pt>
                <c:pt idx="3156">
                  <c:v>43972</c:v>
                </c:pt>
                <c:pt idx="3157">
                  <c:v>43973</c:v>
                </c:pt>
                <c:pt idx="3158">
                  <c:v>43974</c:v>
                </c:pt>
                <c:pt idx="3159">
                  <c:v>43975</c:v>
                </c:pt>
                <c:pt idx="3160">
                  <c:v>43976</c:v>
                </c:pt>
                <c:pt idx="3161">
                  <c:v>43977</c:v>
                </c:pt>
                <c:pt idx="3162">
                  <c:v>43978</c:v>
                </c:pt>
                <c:pt idx="3163">
                  <c:v>43979</c:v>
                </c:pt>
                <c:pt idx="3164">
                  <c:v>43980</c:v>
                </c:pt>
                <c:pt idx="3165">
                  <c:v>43981</c:v>
                </c:pt>
                <c:pt idx="3166">
                  <c:v>43982</c:v>
                </c:pt>
                <c:pt idx="3167">
                  <c:v>43983</c:v>
                </c:pt>
                <c:pt idx="3168">
                  <c:v>43984</c:v>
                </c:pt>
                <c:pt idx="3169">
                  <c:v>43985</c:v>
                </c:pt>
                <c:pt idx="3170">
                  <c:v>43986</c:v>
                </c:pt>
                <c:pt idx="3171">
                  <c:v>43987</c:v>
                </c:pt>
                <c:pt idx="3172">
                  <c:v>43988</c:v>
                </c:pt>
                <c:pt idx="3173">
                  <c:v>43989</c:v>
                </c:pt>
                <c:pt idx="3174">
                  <c:v>43990</c:v>
                </c:pt>
                <c:pt idx="3175">
                  <c:v>43991</c:v>
                </c:pt>
                <c:pt idx="3176">
                  <c:v>43992</c:v>
                </c:pt>
                <c:pt idx="3177">
                  <c:v>43993</c:v>
                </c:pt>
                <c:pt idx="3178">
                  <c:v>43994</c:v>
                </c:pt>
                <c:pt idx="3179">
                  <c:v>43995</c:v>
                </c:pt>
                <c:pt idx="3180">
                  <c:v>43996</c:v>
                </c:pt>
                <c:pt idx="3181">
                  <c:v>43997</c:v>
                </c:pt>
                <c:pt idx="3182">
                  <c:v>43998</c:v>
                </c:pt>
                <c:pt idx="3183">
                  <c:v>43999</c:v>
                </c:pt>
                <c:pt idx="3184">
                  <c:v>44000</c:v>
                </c:pt>
                <c:pt idx="3185">
                  <c:v>44001</c:v>
                </c:pt>
                <c:pt idx="3186">
                  <c:v>44002</c:v>
                </c:pt>
                <c:pt idx="3187">
                  <c:v>44003</c:v>
                </c:pt>
                <c:pt idx="3188">
                  <c:v>44004</c:v>
                </c:pt>
                <c:pt idx="3189">
                  <c:v>44005</c:v>
                </c:pt>
                <c:pt idx="3190">
                  <c:v>44006</c:v>
                </c:pt>
                <c:pt idx="3191">
                  <c:v>44007</c:v>
                </c:pt>
                <c:pt idx="3192">
                  <c:v>44008</c:v>
                </c:pt>
                <c:pt idx="3193">
                  <c:v>44009</c:v>
                </c:pt>
                <c:pt idx="3194">
                  <c:v>44010</c:v>
                </c:pt>
                <c:pt idx="3195">
                  <c:v>44011</c:v>
                </c:pt>
                <c:pt idx="3196">
                  <c:v>44012</c:v>
                </c:pt>
                <c:pt idx="3197">
                  <c:v>44013</c:v>
                </c:pt>
                <c:pt idx="3198">
                  <c:v>44014</c:v>
                </c:pt>
                <c:pt idx="3199">
                  <c:v>44015</c:v>
                </c:pt>
                <c:pt idx="3200">
                  <c:v>44016</c:v>
                </c:pt>
                <c:pt idx="3201">
                  <c:v>44017</c:v>
                </c:pt>
                <c:pt idx="3202">
                  <c:v>44018</c:v>
                </c:pt>
                <c:pt idx="3203">
                  <c:v>44019</c:v>
                </c:pt>
                <c:pt idx="3204">
                  <c:v>44020</c:v>
                </c:pt>
                <c:pt idx="3205">
                  <c:v>44021</c:v>
                </c:pt>
                <c:pt idx="3206">
                  <c:v>44022</c:v>
                </c:pt>
                <c:pt idx="3207">
                  <c:v>44023</c:v>
                </c:pt>
                <c:pt idx="3208">
                  <c:v>44024</c:v>
                </c:pt>
                <c:pt idx="3209">
                  <c:v>44025</c:v>
                </c:pt>
                <c:pt idx="3210">
                  <c:v>44026</c:v>
                </c:pt>
                <c:pt idx="3211">
                  <c:v>44027</c:v>
                </c:pt>
                <c:pt idx="3212">
                  <c:v>44028</c:v>
                </c:pt>
                <c:pt idx="3213">
                  <c:v>44029</c:v>
                </c:pt>
                <c:pt idx="3214">
                  <c:v>44030</c:v>
                </c:pt>
                <c:pt idx="3215">
                  <c:v>44031</c:v>
                </c:pt>
                <c:pt idx="3216">
                  <c:v>44032</c:v>
                </c:pt>
                <c:pt idx="3217">
                  <c:v>44033</c:v>
                </c:pt>
                <c:pt idx="3218">
                  <c:v>44034</c:v>
                </c:pt>
                <c:pt idx="3219">
                  <c:v>44035</c:v>
                </c:pt>
                <c:pt idx="3220">
                  <c:v>44036</c:v>
                </c:pt>
                <c:pt idx="3221">
                  <c:v>44037</c:v>
                </c:pt>
                <c:pt idx="3222">
                  <c:v>44038</c:v>
                </c:pt>
                <c:pt idx="3223">
                  <c:v>44039</c:v>
                </c:pt>
                <c:pt idx="3224">
                  <c:v>44040</c:v>
                </c:pt>
                <c:pt idx="3225">
                  <c:v>44041</c:v>
                </c:pt>
                <c:pt idx="3226">
                  <c:v>44042</c:v>
                </c:pt>
                <c:pt idx="3227">
                  <c:v>44043</c:v>
                </c:pt>
                <c:pt idx="3228">
                  <c:v>44044</c:v>
                </c:pt>
                <c:pt idx="3229">
                  <c:v>44045</c:v>
                </c:pt>
                <c:pt idx="3230">
                  <c:v>44046</c:v>
                </c:pt>
                <c:pt idx="3231">
                  <c:v>44047</c:v>
                </c:pt>
                <c:pt idx="3232">
                  <c:v>44048</c:v>
                </c:pt>
                <c:pt idx="3233">
                  <c:v>44049</c:v>
                </c:pt>
                <c:pt idx="3234">
                  <c:v>44050</c:v>
                </c:pt>
                <c:pt idx="3235">
                  <c:v>44051</c:v>
                </c:pt>
                <c:pt idx="3236">
                  <c:v>44052</c:v>
                </c:pt>
                <c:pt idx="3237">
                  <c:v>44053</c:v>
                </c:pt>
                <c:pt idx="3238">
                  <c:v>44054</c:v>
                </c:pt>
                <c:pt idx="3239">
                  <c:v>44055</c:v>
                </c:pt>
                <c:pt idx="3240">
                  <c:v>44056</c:v>
                </c:pt>
                <c:pt idx="3241">
                  <c:v>44057</c:v>
                </c:pt>
                <c:pt idx="3242">
                  <c:v>44058</c:v>
                </c:pt>
                <c:pt idx="3243">
                  <c:v>44059</c:v>
                </c:pt>
                <c:pt idx="3244">
                  <c:v>44060</c:v>
                </c:pt>
                <c:pt idx="3245">
                  <c:v>44061</c:v>
                </c:pt>
                <c:pt idx="3246">
                  <c:v>44062</c:v>
                </c:pt>
                <c:pt idx="3247">
                  <c:v>44063</c:v>
                </c:pt>
                <c:pt idx="3248">
                  <c:v>44064</c:v>
                </c:pt>
                <c:pt idx="3249">
                  <c:v>44065</c:v>
                </c:pt>
                <c:pt idx="3250">
                  <c:v>44066</c:v>
                </c:pt>
                <c:pt idx="3251">
                  <c:v>44067</c:v>
                </c:pt>
                <c:pt idx="3252">
                  <c:v>44068</c:v>
                </c:pt>
                <c:pt idx="3253">
                  <c:v>44069</c:v>
                </c:pt>
                <c:pt idx="3254">
                  <c:v>44070</c:v>
                </c:pt>
                <c:pt idx="3255">
                  <c:v>44071</c:v>
                </c:pt>
                <c:pt idx="3256">
                  <c:v>44072</c:v>
                </c:pt>
                <c:pt idx="3257">
                  <c:v>44073</c:v>
                </c:pt>
                <c:pt idx="3258">
                  <c:v>44074</c:v>
                </c:pt>
                <c:pt idx="3259">
                  <c:v>44075</c:v>
                </c:pt>
                <c:pt idx="3260">
                  <c:v>44076</c:v>
                </c:pt>
                <c:pt idx="3261">
                  <c:v>44077</c:v>
                </c:pt>
                <c:pt idx="3262">
                  <c:v>44078</c:v>
                </c:pt>
                <c:pt idx="3263">
                  <c:v>44079</c:v>
                </c:pt>
                <c:pt idx="3264">
                  <c:v>44080</c:v>
                </c:pt>
                <c:pt idx="3265">
                  <c:v>44081</c:v>
                </c:pt>
                <c:pt idx="3266">
                  <c:v>44082</c:v>
                </c:pt>
                <c:pt idx="3267">
                  <c:v>44083</c:v>
                </c:pt>
                <c:pt idx="3268">
                  <c:v>44084</c:v>
                </c:pt>
                <c:pt idx="3269">
                  <c:v>44085</c:v>
                </c:pt>
                <c:pt idx="3270">
                  <c:v>44086</c:v>
                </c:pt>
                <c:pt idx="3271">
                  <c:v>44087</c:v>
                </c:pt>
                <c:pt idx="3272">
                  <c:v>44088</c:v>
                </c:pt>
                <c:pt idx="3273">
                  <c:v>44089</c:v>
                </c:pt>
                <c:pt idx="3274">
                  <c:v>44090</c:v>
                </c:pt>
                <c:pt idx="3275">
                  <c:v>44091</c:v>
                </c:pt>
                <c:pt idx="3276">
                  <c:v>44092</c:v>
                </c:pt>
                <c:pt idx="3277">
                  <c:v>44093</c:v>
                </c:pt>
                <c:pt idx="3278">
                  <c:v>44094</c:v>
                </c:pt>
                <c:pt idx="3279">
                  <c:v>44095</c:v>
                </c:pt>
                <c:pt idx="3280">
                  <c:v>44096</c:v>
                </c:pt>
                <c:pt idx="3281">
                  <c:v>44097</c:v>
                </c:pt>
                <c:pt idx="3282">
                  <c:v>44098</c:v>
                </c:pt>
                <c:pt idx="3283">
                  <c:v>44099</c:v>
                </c:pt>
                <c:pt idx="3284">
                  <c:v>44100</c:v>
                </c:pt>
                <c:pt idx="3285">
                  <c:v>44101</c:v>
                </c:pt>
                <c:pt idx="3286">
                  <c:v>44102</c:v>
                </c:pt>
                <c:pt idx="3287">
                  <c:v>44103</c:v>
                </c:pt>
                <c:pt idx="3288">
                  <c:v>44104</c:v>
                </c:pt>
                <c:pt idx="3289">
                  <c:v>44105</c:v>
                </c:pt>
                <c:pt idx="3290">
                  <c:v>44106</c:v>
                </c:pt>
                <c:pt idx="3291">
                  <c:v>44107</c:v>
                </c:pt>
                <c:pt idx="3292">
                  <c:v>44108</c:v>
                </c:pt>
                <c:pt idx="3293">
                  <c:v>44109</c:v>
                </c:pt>
                <c:pt idx="3294">
                  <c:v>44110</c:v>
                </c:pt>
                <c:pt idx="3295">
                  <c:v>44111</c:v>
                </c:pt>
                <c:pt idx="3296">
                  <c:v>44112</c:v>
                </c:pt>
                <c:pt idx="3297">
                  <c:v>44113</c:v>
                </c:pt>
                <c:pt idx="3298">
                  <c:v>44114</c:v>
                </c:pt>
                <c:pt idx="3299">
                  <c:v>44115</c:v>
                </c:pt>
                <c:pt idx="3300">
                  <c:v>44116</c:v>
                </c:pt>
                <c:pt idx="3301">
                  <c:v>44117</c:v>
                </c:pt>
                <c:pt idx="3302">
                  <c:v>44118</c:v>
                </c:pt>
                <c:pt idx="3303">
                  <c:v>44119</c:v>
                </c:pt>
                <c:pt idx="3304">
                  <c:v>44120</c:v>
                </c:pt>
                <c:pt idx="3305">
                  <c:v>44121</c:v>
                </c:pt>
                <c:pt idx="3306">
                  <c:v>44122</c:v>
                </c:pt>
                <c:pt idx="3307">
                  <c:v>44123</c:v>
                </c:pt>
                <c:pt idx="3308">
                  <c:v>44124</c:v>
                </c:pt>
                <c:pt idx="3309">
                  <c:v>44125</c:v>
                </c:pt>
                <c:pt idx="3310">
                  <c:v>44126</c:v>
                </c:pt>
                <c:pt idx="3311">
                  <c:v>44127</c:v>
                </c:pt>
                <c:pt idx="3312">
                  <c:v>44128</c:v>
                </c:pt>
                <c:pt idx="3313">
                  <c:v>44129</c:v>
                </c:pt>
                <c:pt idx="3314">
                  <c:v>44130</c:v>
                </c:pt>
                <c:pt idx="3315">
                  <c:v>44131</c:v>
                </c:pt>
                <c:pt idx="3316">
                  <c:v>44132</c:v>
                </c:pt>
                <c:pt idx="3317">
                  <c:v>44133</c:v>
                </c:pt>
                <c:pt idx="3318">
                  <c:v>44134</c:v>
                </c:pt>
                <c:pt idx="3319">
                  <c:v>44135</c:v>
                </c:pt>
                <c:pt idx="3320">
                  <c:v>44136</c:v>
                </c:pt>
                <c:pt idx="3321">
                  <c:v>44137</c:v>
                </c:pt>
                <c:pt idx="3322">
                  <c:v>44138</c:v>
                </c:pt>
                <c:pt idx="3323">
                  <c:v>44139</c:v>
                </c:pt>
                <c:pt idx="3324">
                  <c:v>44140</c:v>
                </c:pt>
                <c:pt idx="3325">
                  <c:v>44141</c:v>
                </c:pt>
                <c:pt idx="3326">
                  <c:v>44142</c:v>
                </c:pt>
                <c:pt idx="3327">
                  <c:v>44143</c:v>
                </c:pt>
                <c:pt idx="3328">
                  <c:v>44144</c:v>
                </c:pt>
                <c:pt idx="3329">
                  <c:v>44145</c:v>
                </c:pt>
                <c:pt idx="3330">
                  <c:v>44146</c:v>
                </c:pt>
                <c:pt idx="3331">
                  <c:v>44147</c:v>
                </c:pt>
                <c:pt idx="3332">
                  <c:v>44148</c:v>
                </c:pt>
                <c:pt idx="3333">
                  <c:v>44149</c:v>
                </c:pt>
                <c:pt idx="3334">
                  <c:v>44150</c:v>
                </c:pt>
                <c:pt idx="3335">
                  <c:v>44151</c:v>
                </c:pt>
                <c:pt idx="3336">
                  <c:v>44152</c:v>
                </c:pt>
                <c:pt idx="3337">
                  <c:v>44153</c:v>
                </c:pt>
                <c:pt idx="3338">
                  <c:v>44154</c:v>
                </c:pt>
                <c:pt idx="3339">
                  <c:v>44155</c:v>
                </c:pt>
                <c:pt idx="3340">
                  <c:v>44156</c:v>
                </c:pt>
                <c:pt idx="3341">
                  <c:v>44157</c:v>
                </c:pt>
                <c:pt idx="3342">
                  <c:v>44158</c:v>
                </c:pt>
                <c:pt idx="3343">
                  <c:v>44159</c:v>
                </c:pt>
                <c:pt idx="3344">
                  <c:v>44160</c:v>
                </c:pt>
                <c:pt idx="3345">
                  <c:v>44161</c:v>
                </c:pt>
                <c:pt idx="3346">
                  <c:v>44162</c:v>
                </c:pt>
                <c:pt idx="3347">
                  <c:v>44163</c:v>
                </c:pt>
                <c:pt idx="3348">
                  <c:v>44164</c:v>
                </c:pt>
                <c:pt idx="3349">
                  <c:v>44165</c:v>
                </c:pt>
                <c:pt idx="3350">
                  <c:v>44166</c:v>
                </c:pt>
                <c:pt idx="3351">
                  <c:v>44167</c:v>
                </c:pt>
                <c:pt idx="3352">
                  <c:v>44168</c:v>
                </c:pt>
                <c:pt idx="3353">
                  <c:v>44169</c:v>
                </c:pt>
                <c:pt idx="3354">
                  <c:v>44170</c:v>
                </c:pt>
                <c:pt idx="3355">
                  <c:v>44171</c:v>
                </c:pt>
                <c:pt idx="3356">
                  <c:v>44172</c:v>
                </c:pt>
                <c:pt idx="3357">
                  <c:v>44173</c:v>
                </c:pt>
                <c:pt idx="3358">
                  <c:v>44174</c:v>
                </c:pt>
                <c:pt idx="3359">
                  <c:v>44175</c:v>
                </c:pt>
                <c:pt idx="3360">
                  <c:v>44176</c:v>
                </c:pt>
                <c:pt idx="3361">
                  <c:v>44177</c:v>
                </c:pt>
                <c:pt idx="3362">
                  <c:v>44178</c:v>
                </c:pt>
                <c:pt idx="3363">
                  <c:v>44179</c:v>
                </c:pt>
                <c:pt idx="3364">
                  <c:v>44180</c:v>
                </c:pt>
                <c:pt idx="3365">
                  <c:v>44181</c:v>
                </c:pt>
                <c:pt idx="3366">
                  <c:v>44182</c:v>
                </c:pt>
                <c:pt idx="3367">
                  <c:v>44183</c:v>
                </c:pt>
                <c:pt idx="3368">
                  <c:v>44184</c:v>
                </c:pt>
                <c:pt idx="3369">
                  <c:v>44185</c:v>
                </c:pt>
                <c:pt idx="3370">
                  <c:v>44186</c:v>
                </c:pt>
                <c:pt idx="3371">
                  <c:v>44187</c:v>
                </c:pt>
                <c:pt idx="3372">
                  <c:v>44188</c:v>
                </c:pt>
                <c:pt idx="3373">
                  <c:v>44189</c:v>
                </c:pt>
                <c:pt idx="3374">
                  <c:v>44190</c:v>
                </c:pt>
                <c:pt idx="3375">
                  <c:v>44191</c:v>
                </c:pt>
                <c:pt idx="3376">
                  <c:v>44192</c:v>
                </c:pt>
                <c:pt idx="3377">
                  <c:v>44193</c:v>
                </c:pt>
                <c:pt idx="3378">
                  <c:v>44194</c:v>
                </c:pt>
                <c:pt idx="3379">
                  <c:v>44195</c:v>
                </c:pt>
                <c:pt idx="3380">
                  <c:v>44196</c:v>
                </c:pt>
                <c:pt idx="3381">
                  <c:v>44197</c:v>
                </c:pt>
                <c:pt idx="3382">
                  <c:v>44198</c:v>
                </c:pt>
                <c:pt idx="3383">
                  <c:v>44199</c:v>
                </c:pt>
                <c:pt idx="3384">
                  <c:v>44200</c:v>
                </c:pt>
                <c:pt idx="3385">
                  <c:v>44201</c:v>
                </c:pt>
                <c:pt idx="3386">
                  <c:v>44202</c:v>
                </c:pt>
                <c:pt idx="3387">
                  <c:v>44203</c:v>
                </c:pt>
                <c:pt idx="3388">
                  <c:v>44204</c:v>
                </c:pt>
                <c:pt idx="3389">
                  <c:v>44205</c:v>
                </c:pt>
                <c:pt idx="3390">
                  <c:v>44206</c:v>
                </c:pt>
                <c:pt idx="3391">
                  <c:v>44207</c:v>
                </c:pt>
                <c:pt idx="3392">
                  <c:v>44208</c:v>
                </c:pt>
                <c:pt idx="3393">
                  <c:v>44209</c:v>
                </c:pt>
                <c:pt idx="3394">
                  <c:v>44210</c:v>
                </c:pt>
                <c:pt idx="3395">
                  <c:v>44211</c:v>
                </c:pt>
                <c:pt idx="3396">
                  <c:v>44212</c:v>
                </c:pt>
                <c:pt idx="3397">
                  <c:v>44213</c:v>
                </c:pt>
                <c:pt idx="3398">
                  <c:v>44214</c:v>
                </c:pt>
                <c:pt idx="3399">
                  <c:v>44215</c:v>
                </c:pt>
                <c:pt idx="3400">
                  <c:v>44216</c:v>
                </c:pt>
                <c:pt idx="3401">
                  <c:v>44217</c:v>
                </c:pt>
                <c:pt idx="3402">
                  <c:v>44218</c:v>
                </c:pt>
                <c:pt idx="3403">
                  <c:v>44219</c:v>
                </c:pt>
                <c:pt idx="3404">
                  <c:v>44220</c:v>
                </c:pt>
                <c:pt idx="3405">
                  <c:v>44221</c:v>
                </c:pt>
                <c:pt idx="3406">
                  <c:v>44222</c:v>
                </c:pt>
                <c:pt idx="3407">
                  <c:v>44223</c:v>
                </c:pt>
                <c:pt idx="3408">
                  <c:v>44224</c:v>
                </c:pt>
                <c:pt idx="3409">
                  <c:v>44225</c:v>
                </c:pt>
                <c:pt idx="3410">
                  <c:v>44226</c:v>
                </c:pt>
                <c:pt idx="3411">
                  <c:v>44227</c:v>
                </c:pt>
                <c:pt idx="3412">
                  <c:v>44228</c:v>
                </c:pt>
                <c:pt idx="3413">
                  <c:v>44229</c:v>
                </c:pt>
                <c:pt idx="3414">
                  <c:v>44230</c:v>
                </c:pt>
                <c:pt idx="3415">
                  <c:v>44231</c:v>
                </c:pt>
                <c:pt idx="3416">
                  <c:v>44232</c:v>
                </c:pt>
                <c:pt idx="3417">
                  <c:v>44233</c:v>
                </c:pt>
                <c:pt idx="3418">
                  <c:v>44234</c:v>
                </c:pt>
                <c:pt idx="3419">
                  <c:v>44235</c:v>
                </c:pt>
                <c:pt idx="3420">
                  <c:v>44236</c:v>
                </c:pt>
                <c:pt idx="3421">
                  <c:v>44237</c:v>
                </c:pt>
                <c:pt idx="3422">
                  <c:v>44238</c:v>
                </c:pt>
                <c:pt idx="3423">
                  <c:v>44239</c:v>
                </c:pt>
                <c:pt idx="3424">
                  <c:v>44240</c:v>
                </c:pt>
                <c:pt idx="3425">
                  <c:v>44241</c:v>
                </c:pt>
                <c:pt idx="3426">
                  <c:v>44242</c:v>
                </c:pt>
                <c:pt idx="3427">
                  <c:v>44243</c:v>
                </c:pt>
                <c:pt idx="3428">
                  <c:v>44244</c:v>
                </c:pt>
                <c:pt idx="3429">
                  <c:v>44245</c:v>
                </c:pt>
                <c:pt idx="3430">
                  <c:v>44246</c:v>
                </c:pt>
                <c:pt idx="3431">
                  <c:v>44247</c:v>
                </c:pt>
                <c:pt idx="3432">
                  <c:v>44248</c:v>
                </c:pt>
                <c:pt idx="3433">
                  <c:v>44249</c:v>
                </c:pt>
                <c:pt idx="3434">
                  <c:v>44250</c:v>
                </c:pt>
                <c:pt idx="3435">
                  <c:v>44251</c:v>
                </c:pt>
                <c:pt idx="3436">
                  <c:v>44252</c:v>
                </c:pt>
                <c:pt idx="3437">
                  <c:v>44253</c:v>
                </c:pt>
                <c:pt idx="3438">
                  <c:v>44254</c:v>
                </c:pt>
                <c:pt idx="3439">
                  <c:v>44255</c:v>
                </c:pt>
                <c:pt idx="3440">
                  <c:v>44256</c:v>
                </c:pt>
                <c:pt idx="3441">
                  <c:v>44257</c:v>
                </c:pt>
                <c:pt idx="3442">
                  <c:v>44258</c:v>
                </c:pt>
                <c:pt idx="3443">
                  <c:v>44259</c:v>
                </c:pt>
                <c:pt idx="3444">
                  <c:v>44260</c:v>
                </c:pt>
                <c:pt idx="3445">
                  <c:v>44261</c:v>
                </c:pt>
                <c:pt idx="3446">
                  <c:v>44262</c:v>
                </c:pt>
                <c:pt idx="3447">
                  <c:v>44263</c:v>
                </c:pt>
                <c:pt idx="3448">
                  <c:v>44264</c:v>
                </c:pt>
                <c:pt idx="3449">
                  <c:v>44265</c:v>
                </c:pt>
                <c:pt idx="3450">
                  <c:v>44266</c:v>
                </c:pt>
                <c:pt idx="3451">
                  <c:v>44267</c:v>
                </c:pt>
                <c:pt idx="3452">
                  <c:v>44268</c:v>
                </c:pt>
                <c:pt idx="3453">
                  <c:v>44269</c:v>
                </c:pt>
                <c:pt idx="3454">
                  <c:v>44270</c:v>
                </c:pt>
                <c:pt idx="3455">
                  <c:v>44271</c:v>
                </c:pt>
                <c:pt idx="3456">
                  <c:v>44272</c:v>
                </c:pt>
                <c:pt idx="3457">
                  <c:v>44273</c:v>
                </c:pt>
                <c:pt idx="3458">
                  <c:v>44274</c:v>
                </c:pt>
                <c:pt idx="3459">
                  <c:v>44275</c:v>
                </c:pt>
                <c:pt idx="3460">
                  <c:v>44276</c:v>
                </c:pt>
                <c:pt idx="3461">
                  <c:v>44277</c:v>
                </c:pt>
                <c:pt idx="3462">
                  <c:v>44278</c:v>
                </c:pt>
                <c:pt idx="3463">
                  <c:v>44279</c:v>
                </c:pt>
                <c:pt idx="3464">
                  <c:v>44280</c:v>
                </c:pt>
                <c:pt idx="3465">
                  <c:v>44281</c:v>
                </c:pt>
                <c:pt idx="3466">
                  <c:v>44282</c:v>
                </c:pt>
                <c:pt idx="3467">
                  <c:v>44283</c:v>
                </c:pt>
                <c:pt idx="3468">
                  <c:v>44284</c:v>
                </c:pt>
                <c:pt idx="3469">
                  <c:v>44285</c:v>
                </c:pt>
                <c:pt idx="3470">
                  <c:v>44286</c:v>
                </c:pt>
                <c:pt idx="3471">
                  <c:v>44287</c:v>
                </c:pt>
                <c:pt idx="3472">
                  <c:v>44288</c:v>
                </c:pt>
                <c:pt idx="3473">
                  <c:v>44289</c:v>
                </c:pt>
                <c:pt idx="3474">
                  <c:v>44290</c:v>
                </c:pt>
                <c:pt idx="3475">
                  <c:v>44291</c:v>
                </c:pt>
                <c:pt idx="3476">
                  <c:v>44292</c:v>
                </c:pt>
                <c:pt idx="3477">
                  <c:v>44293</c:v>
                </c:pt>
                <c:pt idx="3478">
                  <c:v>44294</c:v>
                </c:pt>
                <c:pt idx="3479">
                  <c:v>44295</c:v>
                </c:pt>
                <c:pt idx="3480">
                  <c:v>44296</c:v>
                </c:pt>
                <c:pt idx="3481">
                  <c:v>44297</c:v>
                </c:pt>
                <c:pt idx="3482">
                  <c:v>44298</c:v>
                </c:pt>
                <c:pt idx="3483">
                  <c:v>44299</c:v>
                </c:pt>
                <c:pt idx="3484">
                  <c:v>44300</c:v>
                </c:pt>
                <c:pt idx="3485">
                  <c:v>44301</c:v>
                </c:pt>
                <c:pt idx="3486">
                  <c:v>44302</c:v>
                </c:pt>
                <c:pt idx="3487">
                  <c:v>44303</c:v>
                </c:pt>
                <c:pt idx="3488">
                  <c:v>44304</c:v>
                </c:pt>
                <c:pt idx="3489">
                  <c:v>44305</c:v>
                </c:pt>
                <c:pt idx="3490">
                  <c:v>44306</c:v>
                </c:pt>
                <c:pt idx="3491">
                  <c:v>44307</c:v>
                </c:pt>
                <c:pt idx="3492">
                  <c:v>44308</c:v>
                </c:pt>
                <c:pt idx="3493">
                  <c:v>44309</c:v>
                </c:pt>
                <c:pt idx="3494">
                  <c:v>44310</c:v>
                </c:pt>
                <c:pt idx="3495">
                  <c:v>44311</c:v>
                </c:pt>
                <c:pt idx="3496">
                  <c:v>44312</c:v>
                </c:pt>
                <c:pt idx="3497">
                  <c:v>44313</c:v>
                </c:pt>
                <c:pt idx="3498">
                  <c:v>44314</c:v>
                </c:pt>
                <c:pt idx="3499">
                  <c:v>44315</c:v>
                </c:pt>
                <c:pt idx="3500">
                  <c:v>44316</c:v>
                </c:pt>
                <c:pt idx="3501">
                  <c:v>44317</c:v>
                </c:pt>
                <c:pt idx="3502">
                  <c:v>44318</c:v>
                </c:pt>
                <c:pt idx="3503">
                  <c:v>44319</c:v>
                </c:pt>
                <c:pt idx="3504">
                  <c:v>44320</c:v>
                </c:pt>
                <c:pt idx="3505">
                  <c:v>44321</c:v>
                </c:pt>
                <c:pt idx="3506">
                  <c:v>44322</c:v>
                </c:pt>
                <c:pt idx="3507">
                  <c:v>44323</c:v>
                </c:pt>
                <c:pt idx="3508">
                  <c:v>44324</c:v>
                </c:pt>
                <c:pt idx="3509">
                  <c:v>44325</c:v>
                </c:pt>
                <c:pt idx="3510">
                  <c:v>44326</c:v>
                </c:pt>
                <c:pt idx="3511">
                  <c:v>44327</c:v>
                </c:pt>
                <c:pt idx="3512">
                  <c:v>44328</c:v>
                </c:pt>
                <c:pt idx="3513">
                  <c:v>44329</c:v>
                </c:pt>
                <c:pt idx="3514">
                  <c:v>44330</c:v>
                </c:pt>
                <c:pt idx="3515">
                  <c:v>44331</c:v>
                </c:pt>
                <c:pt idx="3516">
                  <c:v>44332</c:v>
                </c:pt>
                <c:pt idx="3517">
                  <c:v>44333</c:v>
                </c:pt>
                <c:pt idx="3518">
                  <c:v>44334</c:v>
                </c:pt>
                <c:pt idx="3519">
                  <c:v>44335</c:v>
                </c:pt>
                <c:pt idx="3520">
                  <c:v>44336</c:v>
                </c:pt>
                <c:pt idx="3521">
                  <c:v>44337</c:v>
                </c:pt>
                <c:pt idx="3522">
                  <c:v>44338</c:v>
                </c:pt>
                <c:pt idx="3523">
                  <c:v>44339</c:v>
                </c:pt>
                <c:pt idx="3524">
                  <c:v>44340</c:v>
                </c:pt>
                <c:pt idx="3525">
                  <c:v>44341</c:v>
                </c:pt>
                <c:pt idx="3526">
                  <c:v>44342</c:v>
                </c:pt>
                <c:pt idx="3527">
                  <c:v>44343</c:v>
                </c:pt>
                <c:pt idx="3528">
                  <c:v>44344</c:v>
                </c:pt>
                <c:pt idx="3529">
                  <c:v>44345</c:v>
                </c:pt>
                <c:pt idx="3530">
                  <c:v>44346</c:v>
                </c:pt>
                <c:pt idx="3531">
                  <c:v>44347</c:v>
                </c:pt>
                <c:pt idx="3532">
                  <c:v>44348</c:v>
                </c:pt>
                <c:pt idx="3533">
                  <c:v>44349</c:v>
                </c:pt>
                <c:pt idx="3534">
                  <c:v>44350</c:v>
                </c:pt>
                <c:pt idx="3535">
                  <c:v>44351</c:v>
                </c:pt>
                <c:pt idx="3536">
                  <c:v>44352</c:v>
                </c:pt>
                <c:pt idx="3537">
                  <c:v>44353</c:v>
                </c:pt>
                <c:pt idx="3538">
                  <c:v>44354</c:v>
                </c:pt>
                <c:pt idx="3539">
                  <c:v>44355</c:v>
                </c:pt>
                <c:pt idx="3540">
                  <c:v>44356</c:v>
                </c:pt>
                <c:pt idx="3541">
                  <c:v>44357</c:v>
                </c:pt>
                <c:pt idx="3542">
                  <c:v>44358</c:v>
                </c:pt>
                <c:pt idx="3543">
                  <c:v>44359</c:v>
                </c:pt>
                <c:pt idx="3544">
                  <c:v>44360</c:v>
                </c:pt>
                <c:pt idx="3545">
                  <c:v>44361</c:v>
                </c:pt>
                <c:pt idx="3546">
                  <c:v>44362</c:v>
                </c:pt>
                <c:pt idx="3547">
                  <c:v>44363</c:v>
                </c:pt>
                <c:pt idx="3548">
                  <c:v>44364</c:v>
                </c:pt>
                <c:pt idx="3549">
                  <c:v>44365</c:v>
                </c:pt>
                <c:pt idx="3550">
                  <c:v>44366</c:v>
                </c:pt>
                <c:pt idx="3551">
                  <c:v>44367</c:v>
                </c:pt>
                <c:pt idx="3552">
                  <c:v>44368</c:v>
                </c:pt>
                <c:pt idx="3553">
                  <c:v>44369</c:v>
                </c:pt>
                <c:pt idx="3554">
                  <c:v>44370</c:v>
                </c:pt>
                <c:pt idx="3555">
                  <c:v>44371</c:v>
                </c:pt>
                <c:pt idx="3556">
                  <c:v>44372</c:v>
                </c:pt>
                <c:pt idx="3557">
                  <c:v>44373</c:v>
                </c:pt>
                <c:pt idx="3558">
                  <c:v>44374</c:v>
                </c:pt>
                <c:pt idx="3559">
                  <c:v>44375</c:v>
                </c:pt>
                <c:pt idx="3560">
                  <c:v>44376</c:v>
                </c:pt>
                <c:pt idx="3561">
                  <c:v>44377</c:v>
                </c:pt>
                <c:pt idx="3562">
                  <c:v>44378</c:v>
                </c:pt>
                <c:pt idx="3563">
                  <c:v>44379</c:v>
                </c:pt>
                <c:pt idx="3564">
                  <c:v>44380</c:v>
                </c:pt>
                <c:pt idx="3565">
                  <c:v>44381</c:v>
                </c:pt>
                <c:pt idx="3566">
                  <c:v>44382</c:v>
                </c:pt>
                <c:pt idx="3567">
                  <c:v>44383</c:v>
                </c:pt>
                <c:pt idx="3568">
                  <c:v>44384</c:v>
                </c:pt>
                <c:pt idx="3569">
                  <c:v>44385</c:v>
                </c:pt>
                <c:pt idx="3570">
                  <c:v>44386</c:v>
                </c:pt>
                <c:pt idx="3571">
                  <c:v>44387</c:v>
                </c:pt>
                <c:pt idx="3572">
                  <c:v>44388</c:v>
                </c:pt>
                <c:pt idx="3573">
                  <c:v>44389</c:v>
                </c:pt>
                <c:pt idx="3574">
                  <c:v>44390</c:v>
                </c:pt>
                <c:pt idx="3575">
                  <c:v>44391</c:v>
                </c:pt>
                <c:pt idx="3576">
                  <c:v>44392</c:v>
                </c:pt>
                <c:pt idx="3577">
                  <c:v>44393</c:v>
                </c:pt>
                <c:pt idx="3578">
                  <c:v>44394</c:v>
                </c:pt>
                <c:pt idx="3579">
                  <c:v>44395</c:v>
                </c:pt>
                <c:pt idx="3580">
                  <c:v>44396</c:v>
                </c:pt>
                <c:pt idx="3581">
                  <c:v>44397</c:v>
                </c:pt>
                <c:pt idx="3582">
                  <c:v>44398</c:v>
                </c:pt>
                <c:pt idx="3583">
                  <c:v>44399</c:v>
                </c:pt>
                <c:pt idx="3584">
                  <c:v>44400</c:v>
                </c:pt>
                <c:pt idx="3585">
                  <c:v>44401</c:v>
                </c:pt>
                <c:pt idx="3586">
                  <c:v>44402</c:v>
                </c:pt>
                <c:pt idx="3587">
                  <c:v>44403</c:v>
                </c:pt>
                <c:pt idx="3588">
                  <c:v>44404</c:v>
                </c:pt>
                <c:pt idx="3589">
                  <c:v>44405</c:v>
                </c:pt>
                <c:pt idx="3590">
                  <c:v>44406</c:v>
                </c:pt>
                <c:pt idx="3591">
                  <c:v>44407</c:v>
                </c:pt>
                <c:pt idx="3592">
                  <c:v>44408</c:v>
                </c:pt>
                <c:pt idx="3593">
                  <c:v>44409</c:v>
                </c:pt>
                <c:pt idx="3594">
                  <c:v>44410</c:v>
                </c:pt>
                <c:pt idx="3595">
                  <c:v>44411</c:v>
                </c:pt>
                <c:pt idx="3596">
                  <c:v>44412</c:v>
                </c:pt>
                <c:pt idx="3597">
                  <c:v>44413</c:v>
                </c:pt>
                <c:pt idx="3598">
                  <c:v>44414</c:v>
                </c:pt>
                <c:pt idx="3599">
                  <c:v>44415</c:v>
                </c:pt>
                <c:pt idx="3600">
                  <c:v>44416</c:v>
                </c:pt>
                <c:pt idx="3601">
                  <c:v>44417</c:v>
                </c:pt>
                <c:pt idx="3602">
                  <c:v>44418</c:v>
                </c:pt>
                <c:pt idx="3603">
                  <c:v>44419</c:v>
                </c:pt>
                <c:pt idx="3604">
                  <c:v>44420</c:v>
                </c:pt>
                <c:pt idx="3605">
                  <c:v>44421</c:v>
                </c:pt>
                <c:pt idx="3606">
                  <c:v>44422</c:v>
                </c:pt>
                <c:pt idx="3607">
                  <c:v>44423</c:v>
                </c:pt>
                <c:pt idx="3608">
                  <c:v>44424</c:v>
                </c:pt>
                <c:pt idx="3609">
                  <c:v>44425</c:v>
                </c:pt>
                <c:pt idx="3610">
                  <c:v>44426</c:v>
                </c:pt>
                <c:pt idx="3611">
                  <c:v>44427</c:v>
                </c:pt>
                <c:pt idx="3612">
                  <c:v>44428</c:v>
                </c:pt>
                <c:pt idx="3613">
                  <c:v>44429</c:v>
                </c:pt>
                <c:pt idx="3614">
                  <c:v>44430</c:v>
                </c:pt>
                <c:pt idx="3615">
                  <c:v>44431</c:v>
                </c:pt>
                <c:pt idx="3616">
                  <c:v>44432</c:v>
                </c:pt>
                <c:pt idx="3617">
                  <c:v>44433</c:v>
                </c:pt>
                <c:pt idx="3618">
                  <c:v>44434</c:v>
                </c:pt>
                <c:pt idx="3619">
                  <c:v>44435</c:v>
                </c:pt>
                <c:pt idx="3620">
                  <c:v>44436</c:v>
                </c:pt>
                <c:pt idx="3621">
                  <c:v>44437</c:v>
                </c:pt>
                <c:pt idx="3622">
                  <c:v>44438</c:v>
                </c:pt>
                <c:pt idx="3623">
                  <c:v>44439</c:v>
                </c:pt>
                <c:pt idx="3624">
                  <c:v>44440</c:v>
                </c:pt>
                <c:pt idx="3625">
                  <c:v>44441</c:v>
                </c:pt>
                <c:pt idx="3626">
                  <c:v>44442</c:v>
                </c:pt>
                <c:pt idx="3627">
                  <c:v>44443</c:v>
                </c:pt>
                <c:pt idx="3628">
                  <c:v>44444</c:v>
                </c:pt>
                <c:pt idx="3629">
                  <c:v>44445</c:v>
                </c:pt>
                <c:pt idx="3630">
                  <c:v>44446</c:v>
                </c:pt>
                <c:pt idx="3631">
                  <c:v>44447</c:v>
                </c:pt>
                <c:pt idx="3632">
                  <c:v>44448</c:v>
                </c:pt>
                <c:pt idx="3633">
                  <c:v>44449</c:v>
                </c:pt>
                <c:pt idx="3634">
                  <c:v>44450</c:v>
                </c:pt>
                <c:pt idx="3635">
                  <c:v>44451</c:v>
                </c:pt>
                <c:pt idx="3636">
                  <c:v>44452</c:v>
                </c:pt>
                <c:pt idx="3637">
                  <c:v>44453</c:v>
                </c:pt>
                <c:pt idx="3638">
                  <c:v>44454</c:v>
                </c:pt>
                <c:pt idx="3639">
                  <c:v>44455</c:v>
                </c:pt>
                <c:pt idx="3640">
                  <c:v>44456</c:v>
                </c:pt>
                <c:pt idx="3641">
                  <c:v>44457</c:v>
                </c:pt>
                <c:pt idx="3642">
                  <c:v>44458</c:v>
                </c:pt>
                <c:pt idx="3643">
                  <c:v>44459</c:v>
                </c:pt>
                <c:pt idx="3644">
                  <c:v>44460</c:v>
                </c:pt>
                <c:pt idx="3645">
                  <c:v>44461</c:v>
                </c:pt>
                <c:pt idx="3646">
                  <c:v>44462</c:v>
                </c:pt>
                <c:pt idx="3647">
                  <c:v>44463</c:v>
                </c:pt>
                <c:pt idx="3648">
                  <c:v>44464</c:v>
                </c:pt>
                <c:pt idx="3649">
                  <c:v>44465</c:v>
                </c:pt>
                <c:pt idx="3650">
                  <c:v>44466</c:v>
                </c:pt>
                <c:pt idx="3651">
                  <c:v>44467</c:v>
                </c:pt>
                <c:pt idx="3652">
                  <c:v>44468</c:v>
                </c:pt>
                <c:pt idx="3653">
                  <c:v>44469</c:v>
                </c:pt>
              </c:numCache>
            </c:numRef>
          </c:cat>
          <c:val>
            <c:numRef>
              <c:f>'Ark1'!$B$2:$B$3655</c:f>
              <c:numCache>
                <c:formatCode>General</c:formatCode>
                <c:ptCount val="3654"/>
                <c:pt idx="0">
                  <c:v>24.707999999999998</c:v>
                </c:pt>
                <c:pt idx="1">
                  <c:v>24.707999999999998</c:v>
                </c:pt>
                <c:pt idx="2">
                  <c:v>24.707999999999998</c:v>
                </c:pt>
                <c:pt idx="3">
                  <c:v>23.634</c:v>
                </c:pt>
                <c:pt idx="4">
                  <c:v>23.634</c:v>
                </c:pt>
                <c:pt idx="5">
                  <c:v>23.795000000000002</c:v>
                </c:pt>
                <c:pt idx="6">
                  <c:v>24.064</c:v>
                </c:pt>
                <c:pt idx="7">
                  <c:v>23.634</c:v>
                </c:pt>
                <c:pt idx="8">
                  <c:v>23.634</c:v>
                </c:pt>
                <c:pt idx="9">
                  <c:v>23.634</c:v>
                </c:pt>
                <c:pt idx="10">
                  <c:v>24.170999999999999</c:v>
                </c:pt>
                <c:pt idx="11">
                  <c:v>23.634</c:v>
                </c:pt>
                <c:pt idx="12">
                  <c:v>23.849</c:v>
                </c:pt>
                <c:pt idx="13">
                  <c:v>23.634</c:v>
                </c:pt>
                <c:pt idx="14">
                  <c:v>24.117000000000001</c:v>
                </c:pt>
                <c:pt idx="15">
                  <c:v>24.117000000000001</c:v>
                </c:pt>
                <c:pt idx="16">
                  <c:v>24.117000000000001</c:v>
                </c:pt>
                <c:pt idx="17">
                  <c:v>24.117000000000001</c:v>
                </c:pt>
                <c:pt idx="18">
                  <c:v>23.849</c:v>
                </c:pt>
                <c:pt idx="19">
                  <c:v>23.634</c:v>
                </c:pt>
                <c:pt idx="20">
                  <c:v>24.117000000000001</c:v>
                </c:pt>
                <c:pt idx="21">
                  <c:v>24.170999999999999</c:v>
                </c:pt>
                <c:pt idx="22">
                  <c:v>24.170999999999999</c:v>
                </c:pt>
                <c:pt idx="23">
                  <c:v>24.170999999999999</c:v>
                </c:pt>
                <c:pt idx="24">
                  <c:v>23.902000000000001</c:v>
                </c:pt>
                <c:pt idx="25">
                  <c:v>24.170999999999999</c:v>
                </c:pt>
                <c:pt idx="26">
                  <c:v>24.170999999999999</c:v>
                </c:pt>
                <c:pt idx="27">
                  <c:v>24.225000000000001</c:v>
                </c:pt>
                <c:pt idx="28">
                  <c:v>24.654</c:v>
                </c:pt>
                <c:pt idx="29">
                  <c:v>24.654</c:v>
                </c:pt>
                <c:pt idx="30">
                  <c:v>24.654</c:v>
                </c:pt>
                <c:pt idx="31">
                  <c:v>25.138000000000002</c:v>
                </c:pt>
                <c:pt idx="32">
                  <c:v>24.707999999999998</c:v>
                </c:pt>
                <c:pt idx="33">
                  <c:v>24.977</c:v>
                </c:pt>
                <c:pt idx="34">
                  <c:v>24.815999999999999</c:v>
                </c:pt>
                <c:pt idx="35">
                  <c:v>24.707999999999998</c:v>
                </c:pt>
                <c:pt idx="36">
                  <c:v>24.707999999999998</c:v>
                </c:pt>
                <c:pt idx="37">
                  <c:v>24.707999999999998</c:v>
                </c:pt>
                <c:pt idx="38">
                  <c:v>24.332000000000001</c:v>
                </c:pt>
                <c:pt idx="39">
                  <c:v>24.332000000000001</c:v>
                </c:pt>
                <c:pt idx="40">
                  <c:v>24.923000000000002</c:v>
                </c:pt>
                <c:pt idx="41">
                  <c:v>25.782</c:v>
                </c:pt>
                <c:pt idx="42">
                  <c:v>24.977</c:v>
                </c:pt>
                <c:pt idx="43">
                  <c:v>24.977</c:v>
                </c:pt>
                <c:pt idx="44">
                  <c:v>24.977</c:v>
                </c:pt>
                <c:pt idx="45">
                  <c:v>25.405999999999999</c:v>
                </c:pt>
                <c:pt idx="46">
                  <c:v>24.707999999999998</c:v>
                </c:pt>
                <c:pt idx="47">
                  <c:v>25.513999999999999</c:v>
                </c:pt>
                <c:pt idx="48">
                  <c:v>25.084</c:v>
                </c:pt>
                <c:pt idx="49">
                  <c:v>24.44</c:v>
                </c:pt>
                <c:pt idx="50">
                  <c:v>24.44</c:v>
                </c:pt>
                <c:pt idx="51">
                  <c:v>24.44</c:v>
                </c:pt>
                <c:pt idx="52">
                  <c:v>24.815999999999999</c:v>
                </c:pt>
                <c:pt idx="53">
                  <c:v>24.815999999999999</c:v>
                </c:pt>
                <c:pt idx="54">
                  <c:v>24.815999999999999</c:v>
                </c:pt>
                <c:pt idx="55">
                  <c:v>24.815999999999999</c:v>
                </c:pt>
                <c:pt idx="56">
                  <c:v>24.064</c:v>
                </c:pt>
                <c:pt idx="57">
                  <c:v>24.064</c:v>
                </c:pt>
                <c:pt idx="58">
                  <c:v>24.064</c:v>
                </c:pt>
                <c:pt idx="59">
                  <c:v>24.225000000000001</c:v>
                </c:pt>
                <c:pt idx="60">
                  <c:v>23.687999999999999</c:v>
                </c:pt>
                <c:pt idx="61">
                  <c:v>24.064</c:v>
                </c:pt>
                <c:pt idx="62">
                  <c:v>24.332000000000001</c:v>
                </c:pt>
                <c:pt idx="63">
                  <c:v>24.277999999999999</c:v>
                </c:pt>
                <c:pt idx="64">
                  <c:v>24.277999999999999</c:v>
                </c:pt>
                <c:pt idx="65">
                  <c:v>24.277999999999999</c:v>
                </c:pt>
                <c:pt idx="66">
                  <c:v>23.849</c:v>
                </c:pt>
                <c:pt idx="67">
                  <c:v>24.385999999999999</c:v>
                </c:pt>
                <c:pt idx="68">
                  <c:v>24.385999999999999</c:v>
                </c:pt>
                <c:pt idx="69">
                  <c:v>24.385999999999999</c:v>
                </c:pt>
                <c:pt idx="70">
                  <c:v>24.44</c:v>
                </c:pt>
                <c:pt idx="71">
                  <c:v>24.44</c:v>
                </c:pt>
                <c:pt idx="72">
                  <c:v>24.44</c:v>
                </c:pt>
                <c:pt idx="73">
                  <c:v>23.902000000000001</c:v>
                </c:pt>
                <c:pt idx="74">
                  <c:v>23.687999999999999</c:v>
                </c:pt>
                <c:pt idx="75">
                  <c:v>23.902000000000001</c:v>
                </c:pt>
                <c:pt idx="76">
                  <c:v>23.634</c:v>
                </c:pt>
                <c:pt idx="77">
                  <c:v>23.634</c:v>
                </c:pt>
                <c:pt idx="78">
                  <c:v>23.634</c:v>
                </c:pt>
                <c:pt idx="79">
                  <c:v>23.634</c:v>
                </c:pt>
                <c:pt idx="80">
                  <c:v>23.741</c:v>
                </c:pt>
                <c:pt idx="81">
                  <c:v>23.741</c:v>
                </c:pt>
                <c:pt idx="82">
                  <c:v>24.44</c:v>
                </c:pt>
                <c:pt idx="83">
                  <c:v>24.01</c:v>
                </c:pt>
                <c:pt idx="84">
                  <c:v>24.170999999999999</c:v>
                </c:pt>
                <c:pt idx="85">
                  <c:v>24.170999999999999</c:v>
                </c:pt>
                <c:pt idx="86">
                  <c:v>24.170999999999999</c:v>
                </c:pt>
                <c:pt idx="87">
                  <c:v>24.170999999999999</c:v>
                </c:pt>
                <c:pt idx="88">
                  <c:v>23.956</c:v>
                </c:pt>
                <c:pt idx="89">
                  <c:v>23.956</c:v>
                </c:pt>
                <c:pt idx="90">
                  <c:v>24.117000000000001</c:v>
                </c:pt>
                <c:pt idx="91">
                  <c:v>23.634</c:v>
                </c:pt>
                <c:pt idx="92">
                  <c:v>23.634</c:v>
                </c:pt>
                <c:pt idx="93">
                  <c:v>23.634</c:v>
                </c:pt>
                <c:pt idx="94">
                  <c:v>23.687999999999999</c:v>
                </c:pt>
                <c:pt idx="95">
                  <c:v>23.849</c:v>
                </c:pt>
                <c:pt idx="96">
                  <c:v>23.687999999999999</c:v>
                </c:pt>
                <c:pt idx="97">
                  <c:v>23.741</c:v>
                </c:pt>
                <c:pt idx="98">
                  <c:v>23.795000000000002</c:v>
                </c:pt>
                <c:pt idx="99">
                  <c:v>23.795000000000002</c:v>
                </c:pt>
                <c:pt idx="100">
                  <c:v>23.795000000000002</c:v>
                </c:pt>
                <c:pt idx="101">
                  <c:v>23.58</c:v>
                </c:pt>
                <c:pt idx="102">
                  <c:v>23.58</c:v>
                </c:pt>
                <c:pt idx="103">
                  <c:v>23.58</c:v>
                </c:pt>
                <c:pt idx="104">
                  <c:v>23.58</c:v>
                </c:pt>
                <c:pt idx="105">
                  <c:v>23.58</c:v>
                </c:pt>
                <c:pt idx="106">
                  <c:v>23.58</c:v>
                </c:pt>
                <c:pt idx="107">
                  <c:v>23.58</c:v>
                </c:pt>
                <c:pt idx="108">
                  <c:v>23.634</c:v>
                </c:pt>
                <c:pt idx="109">
                  <c:v>23.419</c:v>
                </c:pt>
                <c:pt idx="110">
                  <c:v>23.58</c:v>
                </c:pt>
                <c:pt idx="111">
                  <c:v>23.634</c:v>
                </c:pt>
                <c:pt idx="112">
                  <c:v>23.257999999999999</c:v>
                </c:pt>
                <c:pt idx="113">
                  <c:v>23.257999999999999</c:v>
                </c:pt>
                <c:pt idx="114">
                  <c:v>23.257999999999999</c:v>
                </c:pt>
                <c:pt idx="115">
                  <c:v>22.56</c:v>
                </c:pt>
                <c:pt idx="116">
                  <c:v>22.827999999999999</c:v>
                </c:pt>
                <c:pt idx="117">
                  <c:v>22.613</c:v>
                </c:pt>
                <c:pt idx="118">
                  <c:v>22.667000000000002</c:v>
                </c:pt>
                <c:pt idx="119">
                  <c:v>22.613</c:v>
                </c:pt>
                <c:pt idx="120">
                  <c:v>22.613</c:v>
                </c:pt>
                <c:pt idx="121">
                  <c:v>22.613</c:v>
                </c:pt>
                <c:pt idx="122">
                  <c:v>22.56</c:v>
                </c:pt>
                <c:pt idx="123">
                  <c:v>22.291</c:v>
                </c:pt>
                <c:pt idx="124">
                  <c:v>22.291</c:v>
                </c:pt>
                <c:pt idx="125">
                  <c:v>22.827999999999999</c:v>
                </c:pt>
                <c:pt idx="126">
                  <c:v>23.58</c:v>
                </c:pt>
                <c:pt idx="127">
                  <c:v>23.58</c:v>
                </c:pt>
                <c:pt idx="128">
                  <c:v>23.58</c:v>
                </c:pt>
                <c:pt idx="129">
                  <c:v>23.419</c:v>
                </c:pt>
                <c:pt idx="130">
                  <c:v>24.170999999999999</c:v>
                </c:pt>
                <c:pt idx="131">
                  <c:v>23.364999999999998</c:v>
                </c:pt>
                <c:pt idx="132">
                  <c:v>23.795000000000002</c:v>
                </c:pt>
                <c:pt idx="133">
                  <c:v>23.687999999999999</c:v>
                </c:pt>
                <c:pt idx="134">
                  <c:v>23.687999999999999</c:v>
                </c:pt>
                <c:pt idx="135">
                  <c:v>23.687999999999999</c:v>
                </c:pt>
                <c:pt idx="136">
                  <c:v>23.741</c:v>
                </c:pt>
                <c:pt idx="137">
                  <c:v>23.741</c:v>
                </c:pt>
                <c:pt idx="138">
                  <c:v>25.245000000000001</c:v>
                </c:pt>
                <c:pt idx="139">
                  <c:v>25.782</c:v>
                </c:pt>
                <c:pt idx="140">
                  <c:v>27.125</c:v>
                </c:pt>
                <c:pt idx="141">
                  <c:v>27.125</c:v>
                </c:pt>
                <c:pt idx="142">
                  <c:v>27.125</c:v>
                </c:pt>
                <c:pt idx="143">
                  <c:v>27.661999999999999</c:v>
                </c:pt>
                <c:pt idx="144">
                  <c:v>27.661999999999999</c:v>
                </c:pt>
                <c:pt idx="145">
                  <c:v>27.393999999999998</c:v>
                </c:pt>
                <c:pt idx="146">
                  <c:v>27.393999999999998</c:v>
                </c:pt>
                <c:pt idx="147">
                  <c:v>27.661999999999999</c:v>
                </c:pt>
                <c:pt idx="148">
                  <c:v>27.661999999999999</c:v>
                </c:pt>
                <c:pt idx="149">
                  <c:v>27.661999999999999</c:v>
                </c:pt>
                <c:pt idx="150">
                  <c:v>28.065000000000001</c:v>
                </c:pt>
                <c:pt idx="151">
                  <c:v>28.2</c:v>
                </c:pt>
                <c:pt idx="152">
                  <c:v>27.931000000000001</c:v>
                </c:pt>
                <c:pt idx="153">
                  <c:v>28.2</c:v>
                </c:pt>
                <c:pt idx="154">
                  <c:v>28.2</c:v>
                </c:pt>
                <c:pt idx="155">
                  <c:v>28.2</c:v>
                </c:pt>
                <c:pt idx="156">
                  <c:v>28.2</c:v>
                </c:pt>
                <c:pt idx="157">
                  <c:v>27.931000000000001</c:v>
                </c:pt>
                <c:pt idx="158">
                  <c:v>27.931000000000001</c:v>
                </c:pt>
                <c:pt idx="159">
                  <c:v>27.661999999999999</c:v>
                </c:pt>
                <c:pt idx="160">
                  <c:v>26.991</c:v>
                </c:pt>
                <c:pt idx="161">
                  <c:v>27.661999999999999</c:v>
                </c:pt>
                <c:pt idx="162">
                  <c:v>27.661999999999999</c:v>
                </c:pt>
                <c:pt idx="163">
                  <c:v>27.661999999999999</c:v>
                </c:pt>
                <c:pt idx="164">
                  <c:v>27.931000000000001</c:v>
                </c:pt>
                <c:pt idx="165">
                  <c:v>27.661999999999999</c:v>
                </c:pt>
                <c:pt idx="166">
                  <c:v>27.393999999999998</c:v>
                </c:pt>
                <c:pt idx="167">
                  <c:v>27.931000000000001</c:v>
                </c:pt>
                <c:pt idx="168">
                  <c:v>27.797000000000001</c:v>
                </c:pt>
                <c:pt idx="169">
                  <c:v>27.797000000000001</c:v>
                </c:pt>
                <c:pt idx="170">
                  <c:v>27.797000000000001</c:v>
                </c:pt>
                <c:pt idx="171">
                  <c:v>27.527999999999999</c:v>
                </c:pt>
                <c:pt idx="172">
                  <c:v>27.661999999999999</c:v>
                </c:pt>
                <c:pt idx="173">
                  <c:v>27.661999999999999</c:v>
                </c:pt>
                <c:pt idx="174">
                  <c:v>27.661999999999999</c:v>
                </c:pt>
                <c:pt idx="175">
                  <c:v>27.797000000000001</c:v>
                </c:pt>
                <c:pt idx="176">
                  <c:v>27.797000000000001</c:v>
                </c:pt>
                <c:pt idx="177">
                  <c:v>27.797000000000001</c:v>
                </c:pt>
                <c:pt idx="178">
                  <c:v>27.931000000000001</c:v>
                </c:pt>
                <c:pt idx="179">
                  <c:v>27.931000000000001</c:v>
                </c:pt>
                <c:pt idx="180">
                  <c:v>28.2</c:v>
                </c:pt>
                <c:pt idx="181">
                  <c:v>28.2</c:v>
                </c:pt>
                <c:pt idx="182">
                  <c:v>29.274000000000001</c:v>
                </c:pt>
                <c:pt idx="183">
                  <c:v>29.274000000000001</c:v>
                </c:pt>
                <c:pt idx="184">
                  <c:v>29.274000000000001</c:v>
                </c:pt>
                <c:pt idx="185">
                  <c:v>28.870999999999999</c:v>
                </c:pt>
                <c:pt idx="186">
                  <c:v>29.004999999999999</c:v>
                </c:pt>
                <c:pt idx="187">
                  <c:v>29.004999999999999</c:v>
                </c:pt>
                <c:pt idx="188">
                  <c:v>29.004999999999999</c:v>
                </c:pt>
                <c:pt idx="189">
                  <c:v>29.004999999999999</c:v>
                </c:pt>
                <c:pt idx="190">
                  <c:v>29.004999999999999</c:v>
                </c:pt>
                <c:pt idx="191">
                  <c:v>29.004999999999999</c:v>
                </c:pt>
                <c:pt idx="192">
                  <c:v>29.004999999999999</c:v>
                </c:pt>
                <c:pt idx="193">
                  <c:v>29.274000000000001</c:v>
                </c:pt>
                <c:pt idx="194">
                  <c:v>29.542000000000002</c:v>
                </c:pt>
                <c:pt idx="195">
                  <c:v>29.004999999999999</c:v>
                </c:pt>
                <c:pt idx="196">
                  <c:v>29.004999999999999</c:v>
                </c:pt>
                <c:pt idx="197">
                  <c:v>29.004999999999999</c:v>
                </c:pt>
                <c:pt idx="198">
                  <c:v>29.004999999999999</c:v>
                </c:pt>
                <c:pt idx="199">
                  <c:v>28.602</c:v>
                </c:pt>
                <c:pt idx="200">
                  <c:v>28.870999999999999</c:v>
                </c:pt>
                <c:pt idx="201">
                  <c:v>29.14</c:v>
                </c:pt>
                <c:pt idx="202">
                  <c:v>29.14</c:v>
                </c:pt>
                <c:pt idx="203">
                  <c:v>29.408000000000001</c:v>
                </c:pt>
                <c:pt idx="204">
                  <c:v>29.408000000000001</c:v>
                </c:pt>
                <c:pt idx="205">
                  <c:v>29.408000000000001</c:v>
                </c:pt>
                <c:pt idx="206">
                  <c:v>29.408000000000001</c:v>
                </c:pt>
                <c:pt idx="207">
                  <c:v>29.542000000000002</c:v>
                </c:pt>
                <c:pt idx="208">
                  <c:v>29.542000000000002</c:v>
                </c:pt>
                <c:pt idx="209">
                  <c:v>29.542000000000002</c:v>
                </c:pt>
                <c:pt idx="210">
                  <c:v>29.004999999999999</c:v>
                </c:pt>
                <c:pt idx="211">
                  <c:v>29.004999999999999</c:v>
                </c:pt>
                <c:pt idx="212">
                  <c:v>29.004999999999999</c:v>
                </c:pt>
                <c:pt idx="213">
                  <c:v>29.274000000000001</c:v>
                </c:pt>
                <c:pt idx="214">
                  <c:v>29.274000000000001</c:v>
                </c:pt>
                <c:pt idx="215">
                  <c:v>29.408000000000001</c:v>
                </c:pt>
                <c:pt idx="216">
                  <c:v>29.542000000000002</c:v>
                </c:pt>
                <c:pt idx="217">
                  <c:v>29.542000000000002</c:v>
                </c:pt>
                <c:pt idx="218">
                  <c:v>29.542000000000002</c:v>
                </c:pt>
                <c:pt idx="219">
                  <c:v>29.542000000000002</c:v>
                </c:pt>
                <c:pt idx="220">
                  <c:v>29.14</c:v>
                </c:pt>
                <c:pt idx="221">
                  <c:v>29.004999999999999</c:v>
                </c:pt>
                <c:pt idx="222">
                  <c:v>28.870999999999999</c:v>
                </c:pt>
                <c:pt idx="223">
                  <c:v>29.274000000000001</c:v>
                </c:pt>
                <c:pt idx="224">
                  <c:v>31.154</c:v>
                </c:pt>
                <c:pt idx="225">
                  <c:v>31.154</c:v>
                </c:pt>
                <c:pt idx="226">
                  <c:v>31.154</c:v>
                </c:pt>
                <c:pt idx="227">
                  <c:v>30.231000000000002</c:v>
                </c:pt>
                <c:pt idx="228">
                  <c:v>29.94</c:v>
                </c:pt>
                <c:pt idx="229">
                  <c:v>30.231000000000002</c:v>
                </c:pt>
                <c:pt idx="230">
                  <c:v>30.231000000000002</c:v>
                </c:pt>
                <c:pt idx="231">
                  <c:v>30.231000000000002</c:v>
                </c:pt>
                <c:pt idx="232">
                  <c:v>30.231000000000002</c:v>
                </c:pt>
                <c:pt idx="233">
                  <c:v>30.231000000000002</c:v>
                </c:pt>
                <c:pt idx="234">
                  <c:v>29.504000000000001</c:v>
                </c:pt>
                <c:pt idx="235">
                  <c:v>29.213999999999999</c:v>
                </c:pt>
                <c:pt idx="236">
                  <c:v>29.068000000000001</c:v>
                </c:pt>
                <c:pt idx="237">
                  <c:v>29.01</c:v>
                </c:pt>
                <c:pt idx="238">
                  <c:v>28.777999999999999</c:v>
                </c:pt>
                <c:pt idx="239">
                  <c:v>28.777999999999999</c:v>
                </c:pt>
                <c:pt idx="240">
                  <c:v>28.777999999999999</c:v>
                </c:pt>
                <c:pt idx="241">
                  <c:v>28.777999999999999</c:v>
                </c:pt>
                <c:pt idx="242">
                  <c:v>29.65</c:v>
                </c:pt>
                <c:pt idx="243">
                  <c:v>29.65</c:v>
                </c:pt>
                <c:pt idx="244">
                  <c:v>29.068000000000001</c:v>
                </c:pt>
                <c:pt idx="245">
                  <c:v>29.068000000000001</c:v>
                </c:pt>
                <c:pt idx="246">
                  <c:v>29.068000000000001</c:v>
                </c:pt>
                <c:pt idx="247">
                  <c:v>29.068000000000001</c:v>
                </c:pt>
                <c:pt idx="248">
                  <c:v>29.068000000000001</c:v>
                </c:pt>
                <c:pt idx="249">
                  <c:v>28.486999999999998</c:v>
                </c:pt>
                <c:pt idx="250">
                  <c:v>28.719000000000001</c:v>
                </c:pt>
                <c:pt idx="251">
                  <c:v>29.213999999999999</c:v>
                </c:pt>
                <c:pt idx="252">
                  <c:v>29.068000000000001</c:v>
                </c:pt>
                <c:pt idx="253">
                  <c:v>29.068000000000001</c:v>
                </c:pt>
                <c:pt idx="254">
                  <c:v>29.068000000000001</c:v>
                </c:pt>
                <c:pt idx="255">
                  <c:v>29.068000000000001</c:v>
                </c:pt>
                <c:pt idx="256">
                  <c:v>29.068000000000001</c:v>
                </c:pt>
                <c:pt idx="257">
                  <c:v>29.068000000000001</c:v>
                </c:pt>
                <c:pt idx="258">
                  <c:v>28.661000000000001</c:v>
                </c:pt>
                <c:pt idx="259">
                  <c:v>28.661000000000001</c:v>
                </c:pt>
                <c:pt idx="260">
                  <c:v>28.661000000000001</c:v>
                </c:pt>
                <c:pt idx="261">
                  <c:v>28.661000000000001</c:v>
                </c:pt>
                <c:pt idx="262">
                  <c:v>28.719000000000001</c:v>
                </c:pt>
                <c:pt idx="263">
                  <c:v>28.893999999999998</c:v>
                </c:pt>
                <c:pt idx="264">
                  <c:v>28.545000000000002</c:v>
                </c:pt>
                <c:pt idx="265">
                  <c:v>28.777999999999999</c:v>
                </c:pt>
                <c:pt idx="266">
                  <c:v>28.486999999999998</c:v>
                </c:pt>
                <c:pt idx="267">
                  <c:v>28.486999999999998</c:v>
                </c:pt>
                <c:pt idx="268">
                  <c:v>28.486999999999998</c:v>
                </c:pt>
                <c:pt idx="269">
                  <c:v>29.068000000000001</c:v>
                </c:pt>
                <c:pt idx="270">
                  <c:v>28.777999999999999</c:v>
                </c:pt>
                <c:pt idx="271">
                  <c:v>29.213999999999999</c:v>
                </c:pt>
                <c:pt idx="272">
                  <c:v>29.068000000000001</c:v>
                </c:pt>
                <c:pt idx="273">
                  <c:v>30.521999999999998</c:v>
                </c:pt>
                <c:pt idx="274">
                  <c:v>30.521999999999998</c:v>
                </c:pt>
                <c:pt idx="275">
                  <c:v>30.521999999999998</c:v>
                </c:pt>
                <c:pt idx="276">
                  <c:v>30.521999999999998</c:v>
                </c:pt>
                <c:pt idx="277">
                  <c:v>30.231000000000002</c:v>
                </c:pt>
                <c:pt idx="278">
                  <c:v>30.231000000000002</c:v>
                </c:pt>
                <c:pt idx="279">
                  <c:v>30.376000000000001</c:v>
                </c:pt>
                <c:pt idx="280">
                  <c:v>30.812000000000001</c:v>
                </c:pt>
                <c:pt idx="281">
                  <c:v>30.812000000000001</c:v>
                </c:pt>
                <c:pt idx="282">
                  <c:v>30.812000000000001</c:v>
                </c:pt>
                <c:pt idx="283">
                  <c:v>30.231000000000002</c:v>
                </c:pt>
                <c:pt idx="284">
                  <c:v>30.231000000000002</c:v>
                </c:pt>
                <c:pt idx="285">
                  <c:v>31.103000000000002</c:v>
                </c:pt>
                <c:pt idx="286">
                  <c:v>30.957999999999998</c:v>
                </c:pt>
                <c:pt idx="287">
                  <c:v>31.103000000000002</c:v>
                </c:pt>
                <c:pt idx="288">
                  <c:v>31.103000000000002</c:v>
                </c:pt>
                <c:pt idx="289">
                  <c:v>31.103000000000002</c:v>
                </c:pt>
                <c:pt idx="290">
                  <c:v>31.103000000000002</c:v>
                </c:pt>
                <c:pt idx="291">
                  <c:v>31.393999999999998</c:v>
                </c:pt>
                <c:pt idx="292">
                  <c:v>31.103000000000002</c:v>
                </c:pt>
                <c:pt idx="293">
                  <c:v>31.103000000000002</c:v>
                </c:pt>
                <c:pt idx="294">
                  <c:v>30.667000000000002</c:v>
                </c:pt>
                <c:pt idx="295">
                  <c:v>30.667000000000002</c:v>
                </c:pt>
                <c:pt idx="296">
                  <c:v>30.667000000000002</c:v>
                </c:pt>
                <c:pt idx="297">
                  <c:v>30.231000000000002</c:v>
                </c:pt>
                <c:pt idx="298">
                  <c:v>30.231000000000002</c:v>
                </c:pt>
                <c:pt idx="299">
                  <c:v>30.231000000000002</c:v>
                </c:pt>
                <c:pt idx="300">
                  <c:v>30.376000000000001</c:v>
                </c:pt>
                <c:pt idx="301">
                  <c:v>30.376000000000001</c:v>
                </c:pt>
                <c:pt idx="302">
                  <c:v>30.376000000000001</c:v>
                </c:pt>
                <c:pt idx="303">
                  <c:v>30.376000000000001</c:v>
                </c:pt>
                <c:pt idx="304">
                  <c:v>30.231000000000002</c:v>
                </c:pt>
                <c:pt idx="305">
                  <c:v>30.376000000000001</c:v>
                </c:pt>
                <c:pt idx="306">
                  <c:v>30.231000000000002</c:v>
                </c:pt>
                <c:pt idx="307">
                  <c:v>30.812000000000001</c:v>
                </c:pt>
                <c:pt idx="308">
                  <c:v>30.812000000000001</c:v>
                </c:pt>
                <c:pt idx="309">
                  <c:v>30.812000000000001</c:v>
                </c:pt>
                <c:pt idx="310">
                  <c:v>30.812000000000001</c:v>
                </c:pt>
                <c:pt idx="311">
                  <c:v>31.103000000000002</c:v>
                </c:pt>
                <c:pt idx="312">
                  <c:v>31.393999999999998</c:v>
                </c:pt>
                <c:pt idx="313">
                  <c:v>30.812000000000001</c:v>
                </c:pt>
                <c:pt idx="314">
                  <c:v>31.83</c:v>
                </c:pt>
                <c:pt idx="315">
                  <c:v>31.975000000000001</c:v>
                </c:pt>
                <c:pt idx="316">
                  <c:v>31.975000000000001</c:v>
                </c:pt>
                <c:pt idx="317">
                  <c:v>31.975000000000001</c:v>
                </c:pt>
                <c:pt idx="318">
                  <c:v>32.847000000000001</c:v>
                </c:pt>
                <c:pt idx="319">
                  <c:v>33.429000000000002</c:v>
                </c:pt>
                <c:pt idx="320">
                  <c:v>32.847000000000001</c:v>
                </c:pt>
                <c:pt idx="321">
                  <c:v>32.555999999999997</c:v>
                </c:pt>
                <c:pt idx="322">
                  <c:v>33.137999999999998</c:v>
                </c:pt>
                <c:pt idx="323">
                  <c:v>33.137999999999998</c:v>
                </c:pt>
                <c:pt idx="324">
                  <c:v>33.137999999999998</c:v>
                </c:pt>
                <c:pt idx="325">
                  <c:v>33.137999999999998</c:v>
                </c:pt>
                <c:pt idx="326">
                  <c:v>32.993000000000002</c:v>
                </c:pt>
                <c:pt idx="327">
                  <c:v>33.137999999999998</c:v>
                </c:pt>
                <c:pt idx="328">
                  <c:v>33.137999999999998</c:v>
                </c:pt>
                <c:pt idx="329">
                  <c:v>34.01</c:v>
                </c:pt>
                <c:pt idx="330">
                  <c:v>34.01</c:v>
                </c:pt>
                <c:pt idx="331">
                  <c:v>34.01</c:v>
                </c:pt>
                <c:pt idx="332">
                  <c:v>33.719000000000001</c:v>
                </c:pt>
                <c:pt idx="333">
                  <c:v>33.283000000000001</c:v>
                </c:pt>
                <c:pt idx="334">
                  <c:v>33.283000000000001</c:v>
                </c:pt>
                <c:pt idx="335">
                  <c:v>33.283000000000001</c:v>
                </c:pt>
                <c:pt idx="336">
                  <c:v>33.283000000000001</c:v>
                </c:pt>
                <c:pt idx="337">
                  <c:v>33.283000000000001</c:v>
                </c:pt>
                <c:pt idx="338">
                  <c:v>33.283000000000001</c:v>
                </c:pt>
                <c:pt idx="339">
                  <c:v>33.283000000000001</c:v>
                </c:pt>
                <c:pt idx="340">
                  <c:v>33.137999999999998</c:v>
                </c:pt>
                <c:pt idx="341">
                  <c:v>33.573999999999998</c:v>
                </c:pt>
                <c:pt idx="342">
                  <c:v>33.573999999999998</c:v>
                </c:pt>
                <c:pt idx="343">
                  <c:v>33.429000000000002</c:v>
                </c:pt>
                <c:pt idx="344">
                  <c:v>33.429000000000002</c:v>
                </c:pt>
                <c:pt idx="345">
                  <c:v>33.429000000000002</c:v>
                </c:pt>
                <c:pt idx="346">
                  <c:v>33.573999999999998</c:v>
                </c:pt>
                <c:pt idx="347">
                  <c:v>33.719000000000001</c:v>
                </c:pt>
                <c:pt idx="348">
                  <c:v>33.719000000000001</c:v>
                </c:pt>
                <c:pt idx="349">
                  <c:v>34.01</c:v>
                </c:pt>
                <c:pt idx="350">
                  <c:v>34.01</c:v>
                </c:pt>
                <c:pt idx="351">
                  <c:v>34.01</c:v>
                </c:pt>
                <c:pt idx="352">
                  <c:v>34.01</c:v>
                </c:pt>
                <c:pt idx="353">
                  <c:v>34.445999999999998</c:v>
                </c:pt>
                <c:pt idx="354">
                  <c:v>34.01</c:v>
                </c:pt>
                <c:pt idx="355">
                  <c:v>34.301000000000002</c:v>
                </c:pt>
                <c:pt idx="356">
                  <c:v>34.155000000000001</c:v>
                </c:pt>
                <c:pt idx="357">
                  <c:v>33.719000000000001</c:v>
                </c:pt>
                <c:pt idx="358">
                  <c:v>33.719000000000001</c:v>
                </c:pt>
                <c:pt idx="359">
                  <c:v>33.719000000000001</c:v>
                </c:pt>
                <c:pt idx="360">
                  <c:v>34.01</c:v>
                </c:pt>
                <c:pt idx="361">
                  <c:v>34.301000000000002</c:v>
                </c:pt>
                <c:pt idx="362">
                  <c:v>34.01</c:v>
                </c:pt>
                <c:pt idx="363">
                  <c:v>34.301000000000002</c:v>
                </c:pt>
                <c:pt idx="364">
                  <c:v>34.01</c:v>
                </c:pt>
                <c:pt idx="365">
                  <c:v>34.01</c:v>
                </c:pt>
                <c:pt idx="366">
                  <c:v>34.01</c:v>
                </c:pt>
                <c:pt idx="367">
                  <c:v>34.01</c:v>
                </c:pt>
                <c:pt idx="368">
                  <c:v>33.719000000000001</c:v>
                </c:pt>
                <c:pt idx="369">
                  <c:v>33.719000000000001</c:v>
                </c:pt>
                <c:pt idx="370">
                  <c:v>33.429000000000002</c:v>
                </c:pt>
                <c:pt idx="371">
                  <c:v>33.429000000000002</c:v>
                </c:pt>
                <c:pt idx="372">
                  <c:v>33.429000000000002</c:v>
                </c:pt>
                <c:pt idx="373">
                  <c:v>33.429000000000002</c:v>
                </c:pt>
                <c:pt idx="374">
                  <c:v>33.719000000000001</c:v>
                </c:pt>
                <c:pt idx="375">
                  <c:v>34.155000000000001</c:v>
                </c:pt>
                <c:pt idx="376">
                  <c:v>33.573999999999998</c:v>
                </c:pt>
                <c:pt idx="377">
                  <c:v>34.155000000000001</c:v>
                </c:pt>
                <c:pt idx="378">
                  <c:v>33.719000000000001</c:v>
                </c:pt>
                <c:pt idx="379">
                  <c:v>33.719000000000001</c:v>
                </c:pt>
                <c:pt idx="380">
                  <c:v>33.719000000000001</c:v>
                </c:pt>
                <c:pt idx="381">
                  <c:v>33.429000000000002</c:v>
                </c:pt>
                <c:pt idx="382">
                  <c:v>33.719000000000001</c:v>
                </c:pt>
                <c:pt idx="383">
                  <c:v>33.719000000000001</c:v>
                </c:pt>
                <c:pt idx="384">
                  <c:v>33.719000000000001</c:v>
                </c:pt>
                <c:pt idx="385">
                  <c:v>33.283000000000001</c:v>
                </c:pt>
                <c:pt idx="386">
                  <c:v>33.283000000000001</c:v>
                </c:pt>
                <c:pt idx="387">
                  <c:v>33.283000000000001</c:v>
                </c:pt>
                <c:pt idx="388">
                  <c:v>33.283000000000001</c:v>
                </c:pt>
                <c:pt idx="389">
                  <c:v>33.429000000000002</c:v>
                </c:pt>
                <c:pt idx="390">
                  <c:v>33.429000000000002</c:v>
                </c:pt>
                <c:pt idx="391">
                  <c:v>33.283000000000001</c:v>
                </c:pt>
                <c:pt idx="392">
                  <c:v>33.865000000000002</c:v>
                </c:pt>
                <c:pt idx="393">
                  <c:v>33.865000000000002</c:v>
                </c:pt>
                <c:pt idx="394">
                  <c:v>33.865000000000002</c:v>
                </c:pt>
                <c:pt idx="395">
                  <c:v>33.283000000000001</c:v>
                </c:pt>
                <c:pt idx="396">
                  <c:v>33.137999999999998</c:v>
                </c:pt>
                <c:pt idx="397">
                  <c:v>33.429000000000002</c:v>
                </c:pt>
                <c:pt idx="398">
                  <c:v>32.847000000000001</c:v>
                </c:pt>
                <c:pt idx="399">
                  <c:v>33.573999999999998</c:v>
                </c:pt>
                <c:pt idx="400">
                  <c:v>33.573999999999998</c:v>
                </c:pt>
                <c:pt idx="401">
                  <c:v>33.573999999999998</c:v>
                </c:pt>
                <c:pt idx="402">
                  <c:v>33.573999999999998</c:v>
                </c:pt>
                <c:pt idx="403">
                  <c:v>34.01</c:v>
                </c:pt>
                <c:pt idx="404">
                  <c:v>34.301000000000002</c:v>
                </c:pt>
                <c:pt idx="405">
                  <c:v>34.301000000000002</c:v>
                </c:pt>
                <c:pt idx="406">
                  <c:v>33.865000000000002</c:v>
                </c:pt>
                <c:pt idx="407">
                  <c:v>33.865000000000002</c:v>
                </c:pt>
                <c:pt idx="408">
                  <c:v>33.865000000000002</c:v>
                </c:pt>
                <c:pt idx="409">
                  <c:v>32.993000000000002</c:v>
                </c:pt>
                <c:pt idx="410">
                  <c:v>33.573999999999998</c:v>
                </c:pt>
                <c:pt idx="411">
                  <c:v>33.573999999999998</c:v>
                </c:pt>
                <c:pt idx="412">
                  <c:v>33.137999999999998</c:v>
                </c:pt>
                <c:pt idx="413">
                  <c:v>33.137999999999998</c:v>
                </c:pt>
                <c:pt idx="414">
                  <c:v>33.137999999999998</c:v>
                </c:pt>
                <c:pt idx="415">
                  <c:v>33.137999999999998</c:v>
                </c:pt>
                <c:pt idx="416">
                  <c:v>33.137999999999998</c:v>
                </c:pt>
                <c:pt idx="417">
                  <c:v>33.137999999999998</c:v>
                </c:pt>
                <c:pt idx="418">
                  <c:v>32.847000000000001</c:v>
                </c:pt>
                <c:pt idx="419">
                  <c:v>32.555999999999997</c:v>
                </c:pt>
                <c:pt idx="420">
                  <c:v>32.555999999999997</c:v>
                </c:pt>
                <c:pt idx="421">
                  <c:v>32.555999999999997</c:v>
                </c:pt>
                <c:pt idx="422">
                  <c:v>32.555999999999997</c:v>
                </c:pt>
                <c:pt idx="423">
                  <c:v>32.555999999999997</c:v>
                </c:pt>
                <c:pt idx="424">
                  <c:v>32.847000000000001</c:v>
                </c:pt>
                <c:pt idx="425">
                  <c:v>32.847000000000001</c:v>
                </c:pt>
                <c:pt idx="426">
                  <c:v>32.701999999999998</c:v>
                </c:pt>
                <c:pt idx="427">
                  <c:v>32.701999999999998</c:v>
                </c:pt>
                <c:pt idx="428">
                  <c:v>32.701999999999998</c:v>
                </c:pt>
                <c:pt idx="429">
                  <c:v>32.701999999999998</c:v>
                </c:pt>
                <c:pt idx="430">
                  <c:v>31.393999999999998</c:v>
                </c:pt>
                <c:pt idx="431">
                  <c:v>31.975000000000001</c:v>
                </c:pt>
                <c:pt idx="432">
                  <c:v>31.539000000000001</c:v>
                </c:pt>
                <c:pt idx="433">
                  <c:v>31.83</c:v>
                </c:pt>
                <c:pt idx="434">
                  <c:v>31.103000000000002</c:v>
                </c:pt>
                <c:pt idx="435">
                  <c:v>31.103000000000002</c:v>
                </c:pt>
                <c:pt idx="436">
                  <c:v>31.103000000000002</c:v>
                </c:pt>
                <c:pt idx="437">
                  <c:v>31.248000000000001</c:v>
                </c:pt>
                <c:pt idx="438">
                  <c:v>31.393999999999998</c:v>
                </c:pt>
                <c:pt idx="439">
                  <c:v>31.393999999999998</c:v>
                </c:pt>
                <c:pt idx="440">
                  <c:v>31.103000000000002</c:v>
                </c:pt>
                <c:pt idx="441">
                  <c:v>31.539000000000001</c:v>
                </c:pt>
                <c:pt idx="442">
                  <c:v>31.539000000000001</c:v>
                </c:pt>
                <c:pt idx="443">
                  <c:v>31.539000000000001</c:v>
                </c:pt>
                <c:pt idx="444">
                  <c:v>32.555999999999997</c:v>
                </c:pt>
                <c:pt idx="445">
                  <c:v>32.701999999999998</c:v>
                </c:pt>
                <c:pt idx="446">
                  <c:v>32.993000000000002</c:v>
                </c:pt>
                <c:pt idx="447">
                  <c:v>32.847000000000001</c:v>
                </c:pt>
                <c:pt idx="448">
                  <c:v>33.137999999999998</c:v>
                </c:pt>
                <c:pt idx="449">
                  <c:v>33.137999999999998</c:v>
                </c:pt>
                <c:pt idx="450">
                  <c:v>33.137999999999998</c:v>
                </c:pt>
                <c:pt idx="451">
                  <c:v>33.137999999999998</c:v>
                </c:pt>
                <c:pt idx="452">
                  <c:v>33.137999999999998</c:v>
                </c:pt>
                <c:pt idx="453">
                  <c:v>33.137999999999998</c:v>
                </c:pt>
                <c:pt idx="454">
                  <c:v>32.993000000000002</c:v>
                </c:pt>
                <c:pt idx="455">
                  <c:v>32.701999999999998</c:v>
                </c:pt>
                <c:pt idx="456">
                  <c:v>32.701999999999998</c:v>
                </c:pt>
                <c:pt idx="457">
                  <c:v>32.701999999999998</c:v>
                </c:pt>
                <c:pt idx="458">
                  <c:v>32.701999999999998</c:v>
                </c:pt>
                <c:pt idx="459">
                  <c:v>32.701999999999998</c:v>
                </c:pt>
                <c:pt idx="460">
                  <c:v>32.847000000000001</c:v>
                </c:pt>
                <c:pt idx="461">
                  <c:v>33.137999999999998</c:v>
                </c:pt>
                <c:pt idx="462">
                  <c:v>32.847000000000001</c:v>
                </c:pt>
                <c:pt idx="463">
                  <c:v>32.847000000000001</c:v>
                </c:pt>
                <c:pt idx="464">
                  <c:v>32.847000000000001</c:v>
                </c:pt>
                <c:pt idx="465">
                  <c:v>32.993000000000002</c:v>
                </c:pt>
                <c:pt idx="466">
                  <c:v>33.137999999999998</c:v>
                </c:pt>
                <c:pt idx="467">
                  <c:v>33.283000000000001</c:v>
                </c:pt>
                <c:pt idx="468">
                  <c:v>33.283000000000001</c:v>
                </c:pt>
                <c:pt idx="469">
                  <c:v>33.137999999999998</c:v>
                </c:pt>
                <c:pt idx="470">
                  <c:v>33.137999999999998</c:v>
                </c:pt>
                <c:pt idx="471">
                  <c:v>33.137999999999998</c:v>
                </c:pt>
                <c:pt idx="472">
                  <c:v>33.137999999999998</c:v>
                </c:pt>
                <c:pt idx="473">
                  <c:v>32.847000000000001</c:v>
                </c:pt>
                <c:pt idx="474">
                  <c:v>32.847000000000001</c:v>
                </c:pt>
                <c:pt idx="475">
                  <c:v>32.993000000000002</c:v>
                </c:pt>
                <c:pt idx="476">
                  <c:v>33.137999999999998</c:v>
                </c:pt>
                <c:pt idx="477">
                  <c:v>33.137999999999998</c:v>
                </c:pt>
                <c:pt idx="478">
                  <c:v>33.137999999999998</c:v>
                </c:pt>
                <c:pt idx="479">
                  <c:v>32.701999999999998</c:v>
                </c:pt>
                <c:pt idx="480">
                  <c:v>32.701999999999998</c:v>
                </c:pt>
                <c:pt idx="481">
                  <c:v>32.701999999999998</c:v>
                </c:pt>
                <c:pt idx="482">
                  <c:v>31.975000000000001</c:v>
                </c:pt>
                <c:pt idx="483">
                  <c:v>32.555999999999997</c:v>
                </c:pt>
                <c:pt idx="484">
                  <c:v>32.555999999999997</c:v>
                </c:pt>
                <c:pt idx="485">
                  <c:v>32.555999999999997</c:v>
                </c:pt>
                <c:pt idx="486">
                  <c:v>31.83</c:v>
                </c:pt>
                <c:pt idx="487">
                  <c:v>31.975000000000001</c:v>
                </c:pt>
                <c:pt idx="488">
                  <c:v>32.265999999999998</c:v>
                </c:pt>
                <c:pt idx="489">
                  <c:v>32.265999999999998</c:v>
                </c:pt>
                <c:pt idx="490">
                  <c:v>32.411000000000001</c:v>
                </c:pt>
                <c:pt idx="491">
                  <c:v>32.411000000000001</c:v>
                </c:pt>
                <c:pt idx="492">
                  <c:v>32.411000000000001</c:v>
                </c:pt>
                <c:pt idx="493">
                  <c:v>32.265999999999998</c:v>
                </c:pt>
                <c:pt idx="494">
                  <c:v>32.701999999999998</c:v>
                </c:pt>
                <c:pt idx="495">
                  <c:v>32.847000000000001</c:v>
                </c:pt>
                <c:pt idx="496">
                  <c:v>32.555999999999997</c:v>
                </c:pt>
                <c:pt idx="497">
                  <c:v>32.701999999999998</c:v>
                </c:pt>
                <c:pt idx="498">
                  <c:v>32.701999999999998</c:v>
                </c:pt>
                <c:pt idx="499">
                  <c:v>32.701999999999998</c:v>
                </c:pt>
                <c:pt idx="500">
                  <c:v>32.555999999999997</c:v>
                </c:pt>
                <c:pt idx="501">
                  <c:v>32.411000000000001</c:v>
                </c:pt>
                <c:pt idx="502">
                  <c:v>32.119999999999997</c:v>
                </c:pt>
                <c:pt idx="503">
                  <c:v>32.555999999999997</c:v>
                </c:pt>
                <c:pt idx="504">
                  <c:v>33.137999999999998</c:v>
                </c:pt>
                <c:pt idx="505">
                  <c:v>33.137999999999998</c:v>
                </c:pt>
                <c:pt idx="506">
                  <c:v>33.137999999999998</c:v>
                </c:pt>
                <c:pt idx="507">
                  <c:v>32.411000000000001</c:v>
                </c:pt>
                <c:pt idx="508">
                  <c:v>32.555999999999997</c:v>
                </c:pt>
                <c:pt idx="509">
                  <c:v>33.137999999999998</c:v>
                </c:pt>
                <c:pt idx="510">
                  <c:v>33.137999999999998</c:v>
                </c:pt>
                <c:pt idx="511">
                  <c:v>32.847000000000001</c:v>
                </c:pt>
                <c:pt idx="512">
                  <c:v>32.847000000000001</c:v>
                </c:pt>
                <c:pt idx="513">
                  <c:v>32.847000000000001</c:v>
                </c:pt>
                <c:pt idx="514">
                  <c:v>33.573999999999998</c:v>
                </c:pt>
                <c:pt idx="515">
                  <c:v>33.719000000000001</c:v>
                </c:pt>
                <c:pt idx="516">
                  <c:v>33.719000000000001</c:v>
                </c:pt>
                <c:pt idx="517">
                  <c:v>33.719000000000001</c:v>
                </c:pt>
                <c:pt idx="518">
                  <c:v>34.301000000000002</c:v>
                </c:pt>
                <c:pt idx="519">
                  <c:v>34.301000000000002</c:v>
                </c:pt>
                <c:pt idx="520">
                  <c:v>34.301000000000002</c:v>
                </c:pt>
                <c:pt idx="521">
                  <c:v>34.01</c:v>
                </c:pt>
                <c:pt idx="522">
                  <c:v>34.01</c:v>
                </c:pt>
                <c:pt idx="523">
                  <c:v>34.01</c:v>
                </c:pt>
                <c:pt idx="524">
                  <c:v>33.573999999999998</c:v>
                </c:pt>
                <c:pt idx="525">
                  <c:v>33.865000000000002</c:v>
                </c:pt>
                <c:pt idx="526">
                  <c:v>33.865000000000002</c:v>
                </c:pt>
                <c:pt idx="527">
                  <c:v>33.865000000000002</c:v>
                </c:pt>
                <c:pt idx="528">
                  <c:v>33.429000000000002</c:v>
                </c:pt>
                <c:pt idx="529">
                  <c:v>33.865000000000002</c:v>
                </c:pt>
                <c:pt idx="530">
                  <c:v>34.155000000000001</c:v>
                </c:pt>
                <c:pt idx="531">
                  <c:v>33.573999999999998</c:v>
                </c:pt>
                <c:pt idx="532">
                  <c:v>33.429000000000002</c:v>
                </c:pt>
                <c:pt idx="533">
                  <c:v>33.429000000000002</c:v>
                </c:pt>
                <c:pt idx="534">
                  <c:v>33.429000000000002</c:v>
                </c:pt>
                <c:pt idx="535">
                  <c:v>32.993000000000002</c:v>
                </c:pt>
                <c:pt idx="536">
                  <c:v>33.429000000000002</c:v>
                </c:pt>
                <c:pt idx="537">
                  <c:v>33.429000000000002</c:v>
                </c:pt>
                <c:pt idx="538">
                  <c:v>33.719000000000001</c:v>
                </c:pt>
                <c:pt idx="539">
                  <c:v>34.445999999999998</c:v>
                </c:pt>
                <c:pt idx="540">
                  <c:v>34.445999999999998</c:v>
                </c:pt>
                <c:pt idx="541">
                  <c:v>34.445999999999998</c:v>
                </c:pt>
                <c:pt idx="542">
                  <c:v>34.445999999999998</c:v>
                </c:pt>
                <c:pt idx="543">
                  <c:v>34.881999999999998</c:v>
                </c:pt>
                <c:pt idx="544">
                  <c:v>34.881999999999998</c:v>
                </c:pt>
                <c:pt idx="545">
                  <c:v>34.881999999999998</c:v>
                </c:pt>
                <c:pt idx="546">
                  <c:v>34.881999999999998</c:v>
                </c:pt>
                <c:pt idx="547">
                  <c:v>34.881999999999998</c:v>
                </c:pt>
                <c:pt idx="548">
                  <c:v>34.881999999999998</c:v>
                </c:pt>
                <c:pt idx="549">
                  <c:v>34.881999999999998</c:v>
                </c:pt>
                <c:pt idx="550">
                  <c:v>34.881999999999998</c:v>
                </c:pt>
                <c:pt idx="551">
                  <c:v>34.591000000000001</c:v>
                </c:pt>
                <c:pt idx="552">
                  <c:v>34.301000000000002</c:v>
                </c:pt>
                <c:pt idx="553">
                  <c:v>34.01</c:v>
                </c:pt>
                <c:pt idx="554">
                  <c:v>34.01</c:v>
                </c:pt>
                <c:pt idx="555">
                  <c:v>34.01</c:v>
                </c:pt>
                <c:pt idx="556">
                  <c:v>34.155000000000001</c:v>
                </c:pt>
                <c:pt idx="557">
                  <c:v>33.719000000000001</c:v>
                </c:pt>
                <c:pt idx="558">
                  <c:v>33.137999999999998</c:v>
                </c:pt>
                <c:pt idx="559">
                  <c:v>32.993000000000002</c:v>
                </c:pt>
                <c:pt idx="560">
                  <c:v>33.719000000000001</c:v>
                </c:pt>
                <c:pt idx="561">
                  <c:v>33.719000000000001</c:v>
                </c:pt>
                <c:pt idx="562">
                  <c:v>33.719000000000001</c:v>
                </c:pt>
                <c:pt idx="563">
                  <c:v>33.719000000000001</c:v>
                </c:pt>
                <c:pt idx="564">
                  <c:v>33.429000000000002</c:v>
                </c:pt>
                <c:pt idx="565">
                  <c:v>33.429000000000002</c:v>
                </c:pt>
                <c:pt idx="566">
                  <c:v>34.881999999999998</c:v>
                </c:pt>
                <c:pt idx="567">
                  <c:v>34.881999999999998</c:v>
                </c:pt>
                <c:pt idx="568">
                  <c:v>34.881999999999998</c:v>
                </c:pt>
                <c:pt idx="569">
                  <c:v>34.881999999999998</c:v>
                </c:pt>
                <c:pt idx="570">
                  <c:v>34.881999999999998</c:v>
                </c:pt>
                <c:pt idx="571">
                  <c:v>34.301000000000002</c:v>
                </c:pt>
                <c:pt idx="572">
                  <c:v>34.301000000000002</c:v>
                </c:pt>
                <c:pt idx="573">
                  <c:v>34.591000000000001</c:v>
                </c:pt>
                <c:pt idx="574">
                  <c:v>34.445999999999998</c:v>
                </c:pt>
                <c:pt idx="575">
                  <c:v>34.445999999999998</c:v>
                </c:pt>
                <c:pt idx="576">
                  <c:v>34.445999999999998</c:v>
                </c:pt>
                <c:pt idx="577">
                  <c:v>34.445999999999998</c:v>
                </c:pt>
                <c:pt idx="578">
                  <c:v>34.301000000000002</c:v>
                </c:pt>
                <c:pt idx="579">
                  <c:v>34.301000000000002</c:v>
                </c:pt>
                <c:pt idx="580">
                  <c:v>34.301000000000002</c:v>
                </c:pt>
                <c:pt idx="581">
                  <c:v>34.301000000000002</c:v>
                </c:pt>
                <c:pt idx="582">
                  <c:v>34.301000000000002</c:v>
                </c:pt>
                <c:pt idx="583">
                  <c:v>34.301000000000002</c:v>
                </c:pt>
                <c:pt idx="584">
                  <c:v>34.301000000000002</c:v>
                </c:pt>
                <c:pt idx="585">
                  <c:v>34.445999999999998</c:v>
                </c:pt>
                <c:pt idx="586">
                  <c:v>34.737000000000002</c:v>
                </c:pt>
                <c:pt idx="587">
                  <c:v>34.737000000000002</c:v>
                </c:pt>
                <c:pt idx="588">
                  <c:v>34.591000000000001</c:v>
                </c:pt>
                <c:pt idx="589">
                  <c:v>34.591000000000001</c:v>
                </c:pt>
                <c:pt idx="590">
                  <c:v>34.591000000000001</c:v>
                </c:pt>
                <c:pt idx="591">
                  <c:v>34.445999999999998</c:v>
                </c:pt>
                <c:pt idx="592">
                  <c:v>34.737000000000002</c:v>
                </c:pt>
                <c:pt idx="593">
                  <c:v>36.625999999999998</c:v>
                </c:pt>
                <c:pt idx="594">
                  <c:v>35.374000000000002</c:v>
                </c:pt>
                <c:pt idx="595">
                  <c:v>35.374000000000002</c:v>
                </c:pt>
                <c:pt idx="596">
                  <c:v>35.374000000000002</c:v>
                </c:pt>
                <c:pt idx="597">
                  <c:v>35.374000000000002</c:v>
                </c:pt>
                <c:pt idx="598">
                  <c:v>35.374000000000002</c:v>
                </c:pt>
                <c:pt idx="599">
                  <c:v>34.435000000000002</c:v>
                </c:pt>
                <c:pt idx="600">
                  <c:v>35.374000000000002</c:v>
                </c:pt>
                <c:pt idx="601">
                  <c:v>36.313000000000002</c:v>
                </c:pt>
                <c:pt idx="602">
                  <c:v>36.313000000000002</c:v>
                </c:pt>
                <c:pt idx="603">
                  <c:v>36.313000000000002</c:v>
                </c:pt>
                <c:pt idx="604">
                  <c:v>36.313000000000002</c:v>
                </c:pt>
                <c:pt idx="605">
                  <c:v>37.095999999999997</c:v>
                </c:pt>
                <c:pt idx="606">
                  <c:v>37.252000000000002</c:v>
                </c:pt>
                <c:pt idx="607">
                  <c:v>36.783000000000001</c:v>
                </c:pt>
                <c:pt idx="608">
                  <c:v>36.783000000000001</c:v>
                </c:pt>
                <c:pt idx="609">
                  <c:v>38.503999999999998</c:v>
                </c:pt>
                <c:pt idx="610">
                  <c:v>38.503999999999998</c:v>
                </c:pt>
                <c:pt idx="611">
                  <c:v>38.503999999999998</c:v>
                </c:pt>
                <c:pt idx="612">
                  <c:v>38.191000000000003</c:v>
                </c:pt>
                <c:pt idx="613">
                  <c:v>38.503999999999998</c:v>
                </c:pt>
                <c:pt idx="614">
                  <c:v>38.347999999999999</c:v>
                </c:pt>
                <c:pt idx="615">
                  <c:v>38.503999999999998</c:v>
                </c:pt>
                <c:pt idx="616">
                  <c:v>39.442999999999998</c:v>
                </c:pt>
                <c:pt idx="617">
                  <c:v>39.442999999999998</c:v>
                </c:pt>
                <c:pt idx="618">
                  <c:v>39.442999999999998</c:v>
                </c:pt>
                <c:pt idx="619">
                  <c:v>39.130000000000003</c:v>
                </c:pt>
                <c:pt idx="620">
                  <c:v>39.130000000000003</c:v>
                </c:pt>
                <c:pt idx="621">
                  <c:v>39.130000000000003</c:v>
                </c:pt>
                <c:pt idx="622">
                  <c:v>39.130000000000003</c:v>
                </c:pt>
                <c:pt idx="623">
                  <c:v>38.661000000000001</c:v>
                </c:pt>
                <c:pt idx="624">
                  <c:v>38.661000000000001</c:v>
                </c:pt>
                <c:pt idx="625">
                  <c:v>38.661000000000001</c:v>
                </c:pt>
                <c:pt idx="626">
                  <c:v>38.817</c:v>
                </c:pt>
                <c:pt idx="627">
                  <c:v>38.661000000000001</c:v>
                </c:pt>
                <c:pt idx="628">
                  <c:v>38.661000000000001</c:v>
                </c:pt>
                <c:pt idx="629">
                  <c:v>38.661000000000001</c:v>
                </c:pt>
                <c:pt idx="630">
                  <c:v>38.503999999999998</c:v>
                </c:pt>
                <c:pt idx="631">
                  <c:v>38.503999999999998</c:v>
                </c:pt>
                <c:pt idx="632">
                  <c:v>38.503999999999998</c:v>
                </c:pt>
                <c:pt idx="633">
                  <c:v>38.191000000000003</c:v>
                </c:pt>
                <c:pt idx="634">
                  <c:v>38.191000000000003</c:v>
                </c:pt>
                <c:pt idx="635">
                  <c:v>37.878</c:v>
                </c:pt>
                <c:pt idx="636">
                  <c:v>38.191000000000003</c:v>
                </c:pt>
                <c:pt idx="637">
                  <c:v>38.191000000000003</c:v>
                </c:pt>
                <c:pt idx="638">
                  <c:v>38.191000000000003</c:v>
                </c:pt>
                <c:pt idx="639">
                  <c:v>38.191000000000003</c:v>
                </c:pt>
                <c:pt idx="640">
                  <c:v>38.034999999999997</c:v>
                </c:pt>
                <c:pt idx="641">
                  <c:v>37.878</c:v>
                </c:pt>
                <c:pt idx="642">
                  <c:v>38.503999999999998</c:v>
                </c:pt>
                <c:pt idx="643">
                  <c:v>38.347999999999999</c:v>
                </c:pt>
                <c:pt idx="644">
                  <c:v>38.034999999999997</c:v>
                </c:pt>
                <c:pt idx="645">
                  <c:v>38.034999999999997</c:v>
                </c:pt>
                <c:pt idx="646">
                  <c:v>38.034999999999997</c:v>
                </c:pt>
                <c:pt idx="647">
                  <c:v>38.191000000000003</c:v>
                </c:pt>
                <c:pt idx="648">
                  <c:v>38.347999999999999</c:v>
                </c:pt>
                <c:pt idx="649">
                  <c:v>38.661000000000001</c:v>
                </c:pt>
                <c:pt idx="650">
                  <c:v>39.130000000000003</c:v>
                </c:pt>
                <c:pt idx="651">
                  <c:v>39.130000000000003</c:v>
                </c:pt>
                <c:pt idx="652">
                  <c:v>39.130000000000003</c:v>
                </c:pt>
                <c:pt idx="653">
                  <c:v>39.130000000000003</c:v>
                </c:pt>
                <c:pt idx="654">
                  <c:v>38.661000000000001</c:v>
                </c:pt>
                <c:pt idx="655">
                  <c:v>38.817</c:v>
                </c:pt>
                <c:pt idx="656">
                  <c:v>39.130000000000003</c:v>
                </c:pt>
                <c:pt idx="657">
                  <c:v>39.130000000000003</c:v>
                </c:pt>
                <c:pt idx="658">
                  <c:v>39.442999999999998</c:v>
                </c:pt>
                <c:pt idx="659">
                  <c:v>39.442999999999998</c:v>
                </c:pt>
                <c:pt idx="660">
                  <c:v>39.442999999999998</c:v>
                </c:pt>
                <c:pt idx="661">
                  <c:v>39.130000000000003</c:v>
                </c:pt>
                <c:pt idx="662">
                  <c:v>39.442999999999998</c:v>
                </c:pt>
                <c:pt idx="663">
                  <c:v>39.286999999999999</c:v>
                </c:pt>
                <c:pt idx="664">
                  <c:v>38.817</c:v>
                </c:pt>
                <c:pt idx="665">
                  <c:v>39.442999999999998</c:v>
                </c:pt>
                <c:pt idx="666">
                  <c:v>39.442999999999998</c:v>
                </c:pt>
                <c:pt idx="667">
                  <c:v>39.442999999999998</c:v>
                </c:pt>
                <c:pt idx="668">
                  <c:v>39.442999999999998</c:v>
                </c:pt>
                <c:pt idx="669">
                  <c:v>38.817</c:v>
                </c:pt>
                <c:pt idx="670">
                  <c:v>38.973999999999997</c:v>
                </c:pt>
                <c:pt idx="671">
                  <c:v>39.286999999999999</c:v>
                </c:pt>
                <c:pt idx="672">
                  <c:v>39.286999999999999</c:v>
                </c:pt>
                <c:pt idx="673">
                  <c:v>39.286999999999999</c:v>
                </c:pt>
                <c:pt idx="674">
                  <c:v>39.286999999999999</c:v>
                </c:pt>
                <c:pt idx="675">
                  <c:v>39.286999999999999</c:v>
                </c:pt>
                <c:pt idx="676">
                  <c:v>39.6</c:v>
                </c:pt>
                <c:pt idx="677">
                  <c:v>39.6</c:v>
                </c:pt>
                <c:pt idx="678">
                  <c:v>39.442999999999998</c:v>
                </c:pt>
                <c:pt idx="679">
                  <c:v>39.6</c:v>
                </c:pt>
                <c:pt idx="680">
                  <c:v>39.6</c:v>
                </c:pt>
                <c:pt idx="681">
                  <c:v>39.6</c:v>
                </c:pt>
                <c:pt idx="682">
                  <c:v>38.973999999999997</c:v>
                </c:pt>
                <c:pt idx="683">
                  <c:v>39.442999999999998</c:v>
                </c:pt>
                <c:pt idx="684">
                  <c:v>39.442999999999998</c:v>
                </c:pt>
                <c:pt idx="685">
                  <c:v>39.442999999999998</c:v>
                </c:pt>
                <c:pt idx="686">
                  <c:v>39.912999999999997</c:v>
                </c:pt>
                <c:pt idx="687">
                  <c:v>39.912999999999997</c:v>
                </c:pt>
                <c:pt idx="688">
                  <c:v>39.912999999999997</c:v>
                </c:pt>
                <c:pt idx="689">
                  <c:v>40.07</c:v>
                </c:pt>
                <c:pt idx="690">
                  <c:v>40.225999999999999</c:v>
                </c:pt>
                <c:pt idx="691">
                  <c:v>40.695999999999998</c:v>
                </c:pt>
                <c:pt idx="692">
                  <c:v>41.009</c:v>
                </c:pt>
                <c:pt idx="693">
                  <c:v>41.322000000000003</c:v>
                </c:pt>
                <c:pt idx="694">
                  <c:v>41.322000000000003</c:v>
                </c:pt>
                <c:pt idx="695">
                  <c:v>41.322000000000003</c:v>
                </c:pt>
                <c:pt idx="696">
                  <c:v>41.322000000000003</c:v>
                </c:pt>
                <c:pt idx="697">
                  <c:v>42.261000000000003</c:v>
                </c:pt>
                <c:pt idx="698">
                  <c:v>42.887</c:v>
                </c:pt>
                <c:pt idx="699">
                  <c:v>42.887</c:v>
                </c:pt>
                <c:pt idx="700">
                  <c:v>42.73</c:v>
                </c:pt>
                <c:pt idx="701">
                  <c:v>42.73</c:v>
                </c:pt>
                <c:pt idx="702">
                  <c:v>42.73</c:v>
                </c:pt>
                <c:pt idx="703">
                  <c:v>42.573999999999998</c:v>
                </c:pt>
                <c:pt idx="704">
                  <c:v>42.103999999999999</c:v>
                </c:pt>
                <c:pt idx="705">
                  <c:v>42.103999999999999</c:v>
                </c:pt>
                <c:pt idx="706">
                  <c:v>42.261000000000003</c:v>
                </c:pt>
                <c:pt idx="707">
                  <c:v>42.261000000000003</c:v>
                </c:pt>
                <c:pt idx="708">
                  <c:v>42.261000000000003</c:v>
                </c:pt>
                <c:pt idx="709">
                  <c:v>42.261000000000003</c:v>
                </c:pt>
                <c:pt idx="710">
                  <c:v>42.573999999999998</c:v>
                </c:pt>
                <c:pt idx="711">
                  <c:v>43.826000000000001</c:v>
                </c:pt>
                <c:pt idx="712">
                  <c:v>42.573999999999998</c:v>
                </c:pt>
                <c:pt idx="713">
                  <c:v>44.451999999999998</c:v>
                </c:pt>
                <c:pt idx="714">
                  <c:v>43.67</c:v>
                </c:pt>
                <c:pt idx="715">
                  <c:v>43.67</c:v>
                </c:pt>
                <c:pt idx="716">
                  <c:v>43.67</c:v>
                </c:pt>
                <c:pt idx="717">
                  <c:v>42.73</c:v>
                </c:pt>
                <c:pt idx="718">
                  <c:v>43.356000000000002</c:v>
                </c:pt>
                <c:pt idx="719">
                  <c:v>43.042999999999999</c:v>
                </c:pt>
                <c:pt idx="720">
                  <c:v>43.2</c:v>
                </c:pt>
                <c:pt idx="721">
                  <c:v>43.512999999999998</c:v>
                </c:pt>
                <c:pt idx="722">
                  <c:v>43.512999999999998</c:v>
                </c:pt>
                <c:pt idx="723">
                  <c:v>43.512999999999998</c:v>
                </c:pt>
                <c:pt idx="724">
                  <c:v>43.826000000000001</c:v>
                </c:pt>
                <c:pt idx="725">
                  <c:v>43.826000000000001</c:v>
                </c:pt>
                <c:pt idx="726">
                  <c:v>44.451999999999998</c:v>
                </c:pt>
                <c:pt idx="727">
                  <c:v>44.451999999999998</c:v>
                </c:pt>
                <c:pt idx="728">
                  <c:v>44.451999999999998</c:v>
                </c:pt>
                <c:pt idx="729">
                  <c:v>44.451999999999998</c:v>
                </c:pt>
                <c:pt idx="730">
                  <c:v>44.451999999999998</c:v>
                </c:pt>
                <c:pt idx="731">
                  <c:v>43.982999999999997</c:v>
                </c:pt>
                <c:pt idx="732">
                  <c:v>44.295999999999999</c:v>
                </c:pt>
                <c:pt idx="733">
                  <c:v>43.982999999999997</c:v>
                </c:pt>
                <c:pt idx="734">
                  <c:v>45.078000000000003</c:v>
                </c:pt>
                <c:pt idx="735">
                  <c:v>44.295999999999999</c:v>
                </c:pt>
                <c:pt idx="736">
                  <c:v>44.295999999999999</c:v>
                </c:pt>
                <c:pt idx="737">
                  <c:v>44.295999999999999</c:v>
                </c:pt>
                <c:pt idx="738">
                  <c:v>44.295999999999999</c:v>
                </c:pt>
                <c:pt idx="739">
                  <c:v>44.139000000000003</c:v>
                </c:pt>
                <c:pt idx="740">
                  <c:v>43.826000000000001</c:v>
                </c:pt>
                <c:pt idx="741">
                  <c:v>44.139000000000003</c:v>
                </c:pt>
                <c:pt idx="742">
                  <c:v>44.451999999999998</c:v>
                </c:pt>
                <c:pt idx="743">
                  <c:v>44.451999999999998</c:v>
                </c:pt>
                <c:pt idx="744">
                  <c:v>44.451999999999998</c:v>
                </c:pt>
                <c:pt idx="745">
                  <c:v>43.826000000000001</c:v>
                </c:pt>
                <c:pt idx="746">
                  <c:v>44.451999999999998</c:v>
                </c:pt>
                <c:pt idx="747">
                  <c:v>44.139000000000003</c:v>
                </c:pt>
                <c:pt idx="748">
                  <c:v>44.765000000000001</c:v>
                </c:pt>
                <c:pt idx="749">
                  <c:v>44.451999999999998</c:v>
                </c:pt>
                <c:pt idx="750">
                  <c:v>44.451999999999998</c:v>
                </c:pt>
                <c:pt idx="751">
                  <c:v>44.451999999999998</c:v>
                </c:pt>
                <c:pt idx="752">
                  <c:v>44.765000000000001</c:v>
                </c:pt>
                <c:pt idx="753">
                  <c:v>43.826000000000001</c:v>
                </c:pt>
                <c:pt idx="754">
                  <c:v>43.2</c:v>
                </c:pt>
                <c:pt idx="755">
                  <c:v>43.2</c:v>
                </c:pt>
                <c:pt idx="756">
                  <c:v>42.887</c:v>
                </c:pt>
                <c:pt idx="757">
                  <c:v>42.887</c:v>
                </c:pt>
                <c:pt idx="758">
                  <c:v>42.887</c:v>
                </c:pt>
                <c:pt idx="759">
                  <c:v>43.2</c:v>
                </c:pt>
                <c:pt idx="760">
                  <c:v>43.2</c:v>
                </c:pt>
                <c:pt idx="761">
                  <c:v>42.73</c:v>
                </c:pt>
                <c:pt idx="762">
                  <c:v>41.478000000000002</c:v>
                </c:pt>
                <c:pt idx="763">
                  <c:v>42.887</c:v>
                </c:pt>
                <c:pt idx="764">
                  <c:v>42.887</c:v>
                </c:pt>
                <c:pt idx="765">
                  <c:v>42.887</c:v>
                </c:pt>
                <c:pt idx="766">
                  <c:v>42.887</c:v>
                </c:pt>
                <c:pt idx="767">
                  <c:v>42.573999999999998</c:v>
                </c:pt>
                <c:pt idx="768">
                  <c:v>42.887</c:v>
                </c:pt>
                <c:pt idx="769">
                  <c:v>43.826000000000001</c:v>
                </c:pt>
                <c:pt idx="770">
                  <c:v>43.826000000000001</c:v>
                </c:pt>
                <c:pt idx="771">
                  <c:v>43.826000000000001</c:v>
                </c:pt>
                <c:pt idx="772">
                  <c:v>43.826000000000001</c:v>
                </c:pt>
                <c:pt idx="773">
                  <c:v>43.826000000000001</c:v>
                </c:pt>
                <c:pt idx="774">
                  <c:v>43.826000000000001</c:v>
                </c:pt>
                <c:pt idx="775">
                  <c:v>43.826000000000001</c:v>
                </c:pt>
                <c:pt idx="776">
                  <c:v>43.2</c:v>
                </c:pt>
                <c:pt idx="777">
                  <c:v>43.512999999999998</c:v>
                </c:pt>
                <c:pt idx="778">
                  <c:v>43.512999999999998</c:v>
                </c:pt>
                <c:pt idx="779">
                  <c:v>43.512999999999998</c:v>
                </c:pt>
                <c:pt idx="780">
                  <c:v>42.573999999999998</c:v>
                </c:pt>
                <c:pt idx="781">
                  <c:v>43.512999999999998</c:v>
                </c:pt>
                <c:pt idx="782">
                  <c:v>43.67</c:v>
                </c:pt>
                <c:pt idx="783">
                  <c:v>43.826000000000001</c:v>
                </c:pt>
                <c:pt idx="784">
                  <c:v>44.139000000000003</c:v>
                </c:pt>
                <c:pt idx="785">
                  <c:v>44.139000000000003</c:v>
                </c:pt>
                <c:pt idx="786">
                  <c:v>44.139000000000003</c:v>
                </c:pt>
                <c:pt idx="787">
                  <c:v>43.512999999999998</c:v>
                </c:pt>
                <c:pt idx="788">
                  <c:v>43.826000000000001</c:v>
                </c:pt>
                <c:pt idx="789">
                  <c:v>43.512999999999998</c:v>
                </c:pt>
                <c:pt idx="790">
                  <c:v>43.2</c:v>
                </c:pt>
                <c:pt idx="791">
                  <c:v>42.573999999999998</c:v>
                </c:pt>
                <c:pt idx="792">
                  <c:v>42.573999999999998</c:v>
                </c:pt>
                <c:pt idx="793">
                  <c:v>42.573999999999998</c:v>
                </c:pt>
                <c:pt idx="794">
                  <c:v>41.948</c:v>
                </c:pt>
                <c:pt idx="795">
                  <c:v>43.042999999999999</c:v>
                </c:pt>
                <c:pt idx="796">
                  <c:v>42.73</c:v>
                </c:pt>
                <c:pt idx="797">
                  <c:v>42.73</c:v>
                </c:pt>
                <c:pt idx="798">
                  <c:v>42.573999999999998</c:v>
                </c:pt>
                <c:pt idx="799">
                  <c:v>42.573999999999998</c:v>
                </c:pt>
                <c:pt idx="800">
                  <c:v>42.573999999999998</c:v>
                </c:pt>
                <c:pt idx="801">
                  <c:v>42.887</c:v>
                </c:pt>
                <c:pt idx="802">
                  <c:v>42.573999999999998</c:v>
                </c:pt>
                <c:pt idx="803">
                  <c:v>42.73</c:v>
                </c:pt>
                <c:pt idx="804">
                  <c:v>42.573999999999998</c:v>
                </c:pt>
                <c:pt idx="805">
                  <c:v>42.103999999999999</c:v>
                </c:pt>
                <c:pt idx="806">
                  <c:v>42.103999999999999</c:v>
                </c:pt>
                <c:pt idx="807">
                  <c:v>42.103999999999999</c:v>
                </c:pt>
                <c:pt idx="808">
                  <c:v>41.948</c:v>
                </c:pt>
                <c:pt idx="809">
                  <c:v>41.948</c:v>
                </c:pt>
                <c:pt idx="810">
                  <c:v>43.356000000000002</c:v>
                </c:pt>
                <c:pt idx="811">
                  <c:v>43.2</c:v>
                </c:pt>
                <c:pt idx="812">
                  <c:v>42.887</c:v>
                </c:pt>
                <c:pt idx="813">
                  <c:v>42.887</c:v>
                </c:pt>
                <c:pt idx="814">
                  <c:v>42.887</c:v>
                </c:pt>
                <c:pt idx="815">
                  <c:v>42.261000000000003</c:v>
                </c:pt>
                <c:pt idx="816">
                  <c:v>42.261000000000003</c:v>
                </c:pt>
                <c:pt idx="817">
                  <c:v>42.261000000000003</c:v>
                </c:pt>
                <c:pt idx="818">
                  <c:v>42.261000000000003</c:v>
                </c:pt>
                <c:pt idx="819">
                  <c:v>42.261000000000003</c:v>
                </c:pt>
                <c:pt idx="820">
                  <c:v>42.261000000000003</c:v>
                </c:pt>
                <c:pt idx="821">
                  <c:v>42.261000000000003</c:v>
                </c:pt>
                <c:pt idx="822">
                  <c:v>42.417000000000002</c:v>
                </c:pt>
                <c:pt idx="823">
                  <c:v>42.417000000000002</c:v>
                </c:pt>
                <c:pt idx="824">
                  <c:v>42.417000000000002</c:v>
                </c:pt>
                <c:pt idx="825">
                  <c:v>42.103999999999999</c:v>
                </c:pt>
                <c:pt idx="826">
                  <c:v>42.573999999999998</c:v>
                </c:pt>
                <c:pt idx="827">
                  <c:v>42.573999999999998</c:v>
                </c:pt>
                <c:pt idx="828">
                  <c:v>42.573999999999998</c:v>
                </c:pt>
                <c:pt idx="829">
                  <c:v>42.887</c:v>
                </c:pt>
                <c:pt idx="830">
                  <c:v>41.634999999999998</c:v>
                </c:pt>
                <c:pt idx="831">
                  <c:v>42.573999999999998</c:v>
                </c:pt>
                <c:pt idx="832">
                  <c:v>43.512999999999998</c:v>
                </c:pt>
                <c:pt idx="833">
                  <c:v>43.512999999999998</c:v>
                </c:pt>
                <c:pt idx="834">
                  <c:v>43.512999999999998</c:v>
                </c:pt>
                <c:pt idx="835">
                  <c:v>43.512999999999998</c:v>
                </c:pt>
                <c:pt idx="836">
                  <c:v>43.512999999999998</c:v>
                </c:pt>
                <c:pt idx="837">
                  <c:v>43.826000000000001</c:v>
                </c:pt>
                <c:pt idx="838">
                  <c:v>42.887</c:v>
                </c:pt>
                <c:pt idx="839">
                  <c:v>43.67</c:v>
                </c:pt>
                <c:pt idx="840">
                  <c:v>42.73</c:v>
                </c:pt>
                <c:pt idx="841">
                  <c:v>42.73</c:v>
                </c:pt>
                <c:pt idx="842">
                  <c:v>42.73</c:v>
                </c:pt>
                <c:pt idx="843">
                  <c:v>42.573999999999998</c:v>
                </c:pt>
                <c:pt idx="844">
                  <c:v>42.261000000000003</c:v>
                </c:pt>
                <c:pt idx="845">
                  <c:v>42.573999999999998</c:v>
                </c:pt>
                <c:pt idx="846">
                  <c:v>42.261000000000003</c:v>
                </c:pt>
                <c:pt idx="847">
                  <c:v>42.887</c:v>
                </c:pt>
                <c:pt idx="848">
                  <c:v>42.887</c:v>
                </c:pt>
                <c:pt idx="849">
                  <c:v>42.887</c:v>
                </c:pt>
                <c:pt idx="850">
                  <c:v>42.417000000000002</c:v>
                </c:pt>
                <c:pt idx="851">
                  <c:v>42.573999999999998</c:v>
                </c:pt>
                <c:pt idx="852">
                  <c:v>41.948</c:v>
                </c:pt>
                <c:pt idx="853">
                  <c:v>42.261000000000003</c:v>
                </c:pt>
                <c:pt idx="854">
                  <c:v>42.887</c:v>
                </c:pt>
                <c:pt idx="855">
                  <c:v>42.887</c:v>
                </c:pt>
                <c:pt idx="856">
                  <c:v>42.887</c:v>
                </c:pt>
                <c:pt idx="857">
                  <c:v>42.573999999999998</c:v>
                </c:pt>
                <c:pt idx="858">
                  <c:v>42.573999999999998</c:v>
                </c:pt>
                <c:pt idx="859">
                  <c:v>43.042999999999999</c:v>
                </c:pt>
                <c:pt idx="860">
                  <c:v>42.103999999999999</c:v>
                </c:pt>
                <c:pt idx="861">
                  <c:v>42.887</c:v>
                </c:pt>
                <c:pt idx="862">
                  <c:v>42.887</c:v>
                </c:pt>
                <c:pt idx="863">
                  <c:v>42.887</c:v>
                </c:pt>
                <c:pt idx="864">
                  <c:v>42.887</c:v>
                </c:pt>
                <c:pt idx="865">
                  <c:v>43.2</c:v>
                </c:pt>
                <c:pt idx="866">
                  <c:v>43.512999999999998</c:v>
                </c:pt>
                <c:pt idx="867">
                  <c:v>43.512999999999998</c:v>
                </c:pt>
                <c:pt idx="868">
                  <c:v>44.451999999999998</c:v>
                </c:pt>
                <c:pt idx="869">
                  <c:v>44.451999999999998</c:v>
                </c:pt>
                <c:pt idx="870">
                  <c:v>44.451999999999998</c:v>
                </c:pt>
                <c:pt idx="871">
                  <c:v>45.078000000000003</c:v>
                </c:pt>
                <c:pt idx="872">
                  <c:v>45.078000000000003</c:v>
                </c:pt>
                <c:pt idx="873">
                  <c:v>45.704000000000001</c:v>
                </c:pt>
                <c:pt idx="874">
                  <c:v>45.390999999999998</c:v>
                </c:pt>
                <c:pt idx="875">
                  <c:v>46.017000000000003</c:v>
                </c:pt>
                <c:pt idx="876">
                  <c:v>46.017000000000003</c:v>
                </c:pt>
                <c:pt idx="877">
                  <c:v>46.017000000000003</c:v>
                </c:pt>
                <c:pt idx="878">
                  <c:v>46.017000000000003</c:v>
                </c:pt>
                <c:pt idx="879">
                  <c:v>46.173999999999999</c:v>
                </c:pt>
                <c:pt idx="880">
                  <c:v>45.704000000000001</c:v>
                </c:pt>
                <c:pt idx="881">
                  <c:v>45.390999999999998</c:v>
                </c:pt>
                <c:pt idx="882">
                  <c:v>45.078000000000003</c:v>
                </c:pt>
                <c:pt idx="883">
                  <c:v>45.078000000000003</c:v>
                </c:pt>
                <c:pt idx="884">
                  <c:v>45.078000000000003</c:v>
                </c:pt>
                <c:pt idx="885">
                  <c:v>45.078000000000003</c:v>
                </c:pt>
                <c:pt idx="886">
                  <c:v>45.704000000000001</c:v>
                </c:pt>
                <c:pt idx="887">
                  <c:v>46.33</c:v>
                </c:pt>
                <c:pt idx="888">
                  <c:v>44.451999999999998</c:v>
                </c:pt>
                <c:pt idx="889">
                  <c:v>45.704000000000001</c:v>
                </c:pt>
                <c:pt idx="890">
                  <c:v>45.704000000000001</c:v>
                </c:pt>
                <c:pt idx="891">
                  <c:v>45.704000000000001</c:v>
                </c:pt>
                <c:pt idx="892">
                  <c:v>45.704000000000001</c:v>
                </c:pt>
                <c:pt idx="893">
                  <c:v>45.860999999999997</c:v>
                </c:pt>
                <c:pt idx="894">
                  <c:v>46.017000000000003</c:v>
                </c:pt>
                <c:pt idx="895">
                  <c:v>46.017000000000003</c:v>
                </c:pt>
                <c:pt idx="896">
                  <c:v>46.017000000000003</c:v>
                </c:pt>
                <c:pt idx="897">
                  <c:v>46.017000000000003</c:v>
                </c:pt>
                <c:pt idx="898">
                  <c:v>46.017000000000003</c:v>
                </c:pt>
                <c:pt idx="899">
                  <c:v>45.860999999999997</c:v>
                </c:pt>
                <c:pt idx="900">
                  <c:v>46.643000000000001</c:v>
                </c:pt>
                <c:pt idx="901">
                  <c:v>47.582999999999998</c:v>
                </c:pt>
                <c:pt idx="902">
                  <c:v>47.27</c:v>
                </c:pt>
                <c:pt idx="903">
                  <c:v>46.956000000000003</c:v>
                </c:pt>
                <c:pt idx="904">
                  <c:v>46.956000000000003</c:v>
                </c:pt>
                <c:pt idx="905">
                  <c:v>46.956000000000003</c:v>
                </c:pt>
                <c:pt idx="906">
                  <c:v>46.956000000000003</c:v>
                </c:pt>
                <c:pt idx="907">
                  <c:v>48.209000000000003</c:v>
                </c:pt>
                <c:pt idx="908">
                  <c:v>48.521999999999998</c:v>
                </c:pt>
                <c:pt idx="909">
                  <c:v>48.209000000000003</c:v>
                </c:pt>
                <c:pt idx="910">
                  <c:v>48.209000000000003</c:v>
                </c:pt>
                <c:pt idx="911">
                  <c:v>48.209000000000003</c:v>
                </c:pt>
                <c:pt idx="912">
                  <c:v>48.209000000000003</c:v>
                </c:pt>
                <c:pt idx="913">
                  <c:v>49.148000000000003</c:v>
                </c:pt>
                <c:pt idx="914">
                  <c:v>48.209000000000003</c:v>
                </c:pt>
                <c:pt idx="915">
                  <c:v>48.209000000000003</c:v>
                </c:pt>
                <c:pt idx="916">
                  <c:v>47.738999999999997</c:v>
                </c:pt>
                <c:pt idx="917">
                  <c:v>47.738999999999997</c:v>
                </c:pt>
                <c:pt idx="918">
                  <c:v>47.738999999999997</c:v>
                </c:pt>
                <c:pt idx="919">
                  <c:v>47.738999999999997</c:v>
                </c:pt>
                <c:pt idx="920">
                  <c:v>47.738999999999997</c:v>
                </c:pt>
                <c:pt idx="921">
                  <c:v>48.209000000000003</c:v>
                </c:pt>
                <c:pt idx="922">
                  <c:v>47.27</c:v>
                </c:pt>
                <c:pt idx="923">
                  <c:v>46.956000000000003</c:v>
                </c:pt>
                <c:pt idx="924">
                  <c:v>46.8</c:v>
                </c:pt>
                <c:pt idx="925">
                  <c:v>46.8</c:v>
                </c:pt>
                <c:pt idx="926">
                  <c:v>46.8</c:v>
                </c:pt>
                <c:pt idx="927">
                  <c:v>47.426000000000002</c:v>
                </c:pt>
                <c:pt idx="928">
                  <c:v>47.27</c:v>
                </c:pt>
                <c:pt idx="929">
                  <c:v>46.956000000000003</c:v>
                </c:pt>
                <c:pt idx="930">
                  <c:v>46.956000000000003</c:v>
                </c:pt>
                <c:pt idx="931">
                  <c:v>46.956000000000003</c:v>
                </c:pt>
                <c:pt idx="932">
                  <c:v>46.956000000000003</c:v>
                </c:pt>
                <c:pt idx="933">
                  <c:v>46.956000000000003</c:v>
                </c:pt>
                <c:pt idx="934">
                  <c:v>46.956000000000003</c:v>
                </c:pt>
                <c:pt idx="935">
                  <c:v>46.956000000000003</c:v>
                </c:pt>
                <c:pt idx="936">
                  <c:v>46.643000000000001</c:v>
                </c:pt>
                <c:pt idx="937">
                  <c:v>46.8</c:v>
                </c:pt>
                <c:pt idx="938">
                  <c:v>47.27</c:v>
                </c:pt>
                <c:pt idx="939">
                  <c:v>47.27</c:v>
                </c:pt>
                <c:pt idx="940">
                  <c:v>47.27</c:v>
                </c:pt>
                <c:pt idx="941">
                  <c:v>47.27</c:v>
                </c:pt>
                <c:pt idx="942">
                  <c:v>47.113</c:v>
                </c:pt>
                <c:pt idx="943">
                  <c:v>48.052</c:v>
                </c:pt>
                <c:pt idx="944">
                  <c:v>48.052</c:v>
                </c:pt>
                <c:pt idx="945">
                  <c:v>48.677999999999997</c:v>
                </c:pt>
                <c:pt idx="946">
                  <c:v>48.677999999999997</c:v>
                </c:pt>
                <c:pt idx="947">
                  <c:v>48.677999999999997</c:v>
                </c:pt>
                <c:pt idx="948">
                  <c:v>48.209000000000003</c:v>
                </c:pt>
                <c:pt idx="949">
                  <c:v>48.835000000000001</c:v>
                </c:pt>
                <c:pt idx="950">
                  <c:v>48.835000000000001</c:v>
                </c:pt>
                <c:pt idx="951">
                  <c:v>49.460999999999999</c:v>
                </c:pt>
                <c:pt idx="952">
                  <c:v>48.835000000000001</c:v>
                </c:pt>
                <c:pt idx="953">
                  <c:v>48.835000000000001</c:v>
                </c:pt>
                <c:pt idx="954">
                  <c:v>48.835000000000001</c:v>
                </c:pt>
                <c:pt idx="955">
                  <c:v>50.087000000000003</c:v>
                </c:pt>
                <c:pt idx="956">
                  <c:v>50.243000000000002</c:v>
                </c:pt>
                <c:pt idx="957">
                  <c:v>50.713000000000001</c:v>
                </c:pt>
                <c:pt idx="958">
                  <c:v>51.338999999999999</c:v>
                </c:pt>
                <c:pt idx="959">
                  <c:v>50.326000000000001</c:v>
                </c:pt>
                <c:pt idx="960">
                  <c:v>50.326000000000001</c:v>
                </c:pt>
                <c:pt idx="961">
                  <c:v>50.326000000000001</c:v>
                </c:pt>
                <c:pt idx="962">
                  <c:v>50.326000000000001</c:v>
                </c:pt>
                <c:pt idx="963">
                  <c:v>50.494999999999997</c:v>
                </c:pt>
                <c:pt idx="964">
                  <c:v>50.326000000000001</c:v>
                </c:pt>
                <c:pt idx="965">
                  <c:v>50.326000000000001</c:v>
                </c:pt>
                <c:pt idx="966">
                  <c:v>49.988</c:v>
                </c:pt>
                <c:pt idx="967">
                  <c:v>49.988</c:v>
                </c:pt>
                <c:pt idx="968">
                  <c:v>49.988</c:v>
                </c:pt>
                <c:pt idx="969">
                  <c:v>49.988</c:v>
                </c:pt>
                <c:pt idx="970">
                  <c:v>49.819000000000003</c:v>
                </c:pt>
                <c:pt idx="971">
                  <c:v>49.313000000000002</c:v>
                </c:pt>
                <c:pt idx="972">
                  <c:v>49.313000000000002</c:v>
                </c:pt>
                <c:pt idx="973">
                  <c:v>49.988</c:v>
                </c:pt>
                <c:pt idx="974">
                  <c:v>49.988</c:v>
                </c:pt>
                <c:pt idx="975">
                  <c:v>49.988</c:v>
                </c:pt>
                <c:pt idx="976">
                  <c:v>50.326000000000001</c:v>
                </c:pt>
                <c:pt idx="977">
                  <c:v>50.326000000000001</c:v>
                </c:pt>
                <c:pt idx="978">
                  <c:v>50.664000000000001</c:v>
                </c:pt>
                <c:pt idx="979">
                  <c:v>50.156999999999996</c:v>
                </c:pt>
                <c:pt idx="980">
                  <c:v>50.156999999999996</c:v>
                </c:pt>
                <c:pt idx="981">
                  <c:v>50.156999999999996</c:v>
                </c:pt>
                <c:pt idx="982">
                  <c:v>50.156999999999996</c:v>
                </c:pt>
                <c:pt idx="983">
                  <c:v>50.156999999999996</c:v>
                </c:pt>
                <c:pt idx="984">
                  <c:v>49.988</c:v>
                </c:pt>
                <c:pt idx="985">
                  <c:v>50.326000000000001</c:v>
                </c:pt>
                <c:pt idx="986">
                  <c:v>49.988</c:v>
                </c:pt>
                <c:pt idx="987">
                  <c:v>49.313000000000002</c:v>
                </c:pt>
                <c:pt idx="988">
                  <c:v>49.313000000000002</c:v>
                </c:pt>
                <c:pt idx="989">
                  <c:v>49.313000000000002</c:v>
                </c:pt>
                <c:pt idx="990">
                  <c:v>49.313000000000002</c:v>
                </c:pt>
                <c:pt idx="991">
                  <c:v>49.143999999999998</c:v>
                </c:pt>
                <c:pt idx="992">
                  <c:v>49.481000000000002</c:v>
                </c:pt>
                <c:pt idx="993">
                  <c:v>49.313000000000002</c:v>
                </c:pt>
                <c:pt idx="994">
                  <c:v>49.988</c:v>
                </c:pt>
                <c:pt idx="995">
                  <c:v>49.988</c:v>
                </c:pt>
                <c:pt idx="996">
                  <c:v>49.988</c:v>
                </c:pt>
                <c:pt idx="997">
                  <c:v>49.313000000000002</c:v>
                </c:pt>
                <c:pt idx="998">
                  <c:v>49.143999999999998</c:v>
                </c:pt>
                <c:pt idx="999">
                  <c:v>49.143999999999998</c:v>
                </c:pt>
                <c:pt idx="1000">
                  <c:v>49.143999999999998</c:v>
                </c:pt>
                <c:pt idx="1001">
                  <c:v>49.143999999999998</c:v>
                </c:pt>
                <c:pt idx="1002">
                  <c:v>49.143999999999998</c:v>
                </c:pt>
                <c:pt idx="1003">
                  <c:v>49.143999999999998</c:v>
                </c:pt>
                <c:pt idx="1004">
                  <c:v>48.637</c:v>
                </c:pt>
                <c:pt idx="1005">
                  <c:v>49.143999999999998</c:v>
                </c:pt>
                <c:pt idx="1006">
                  <c:v>49.143999999999998</c:v>
                </c:pt>
                <c:pt idx="1007">
                  <c:v>48.637</c:v>
                </c:pt>
                <c:pt idx="1008">
                  <c:v>48.637</c:v>
                </c:pt>
                <c:pt idx="1009">
                  <c:v>48.637</c:v>
                </c:pt>
                <c:pt idx="1010">
                  <c:v>48.637</c:v>
                </c:pt>
                <c:pt idx="1011">
                  <c:v>49.143999999999998</c:v>
                </c:pt>
                <c:pt idx="1012">
                  <c:v>48.975000000000001</c:v>
                </c:pt>
                <c:pt idx="1013">
                  <c:v>48.805999999999997</c:v>
                </c:pt>
                <c:pt idx="1014">
                  <c:v>48.975000000000001</c:v>
                </c:pt>
                <c:pt idx="1015">
                  <c:v>48.975000000000001</c:v>
                </c:pt>
                <c:pt idx="1016">
                  <c:v>48.975000000000001</c:v>
                </c:pt>
                <c:pt idx="1017">
                  <c:v>48.975000000000001</c:v>
                </c:pt>
                <c:pt idx="1018">
                  <c:v>48.975000000000001</c:v>
                </c:pt>
                <c:pt idx="1019">
                  <c:v>48.468000000000004</c:v>
                </c:pt>
                <c:pt idx="1020">
                  <c:v>48.468000000000004</c:v>
                </c:pt>
                <c:pt idx="1021">
                  <c:v>48.468000000000004</c:v>
                </c:pt>
                <c:pt idx="1022">
                  <c:v>48.468000000000004</c:v>
                </c:pt>
                <c:pt idx="1023">
                  <c:v>48.468000000000004</c:v>
                </c:pt>
                <c:pt idx="1024">
                  <c:v>48.468000000000004</c:v>
                </c:pt>
                <c:pt idx="1025">
                  <c:v>48.637</c:v>
                </c:pt>
                <c:pt idx="1026">
                  <c:v>49.143999999999998</c:v>
                </c:pt>
                <c:pt idx="1027">
                  <c:v>48.468000000000004</c:v>
                </c:pt>
                <c:pt idx="1028">
                  <c:v>48.805999999999997</c:v>
                </c:pt>
                <c:pt idx="1029">
                  <c:v>48.637</c:v>
                </c:pt>
                <c:pt idx="1030">
                  <c:v>48.637</c:v>
                </c:pt>
                <c:pt idx="1031">
                  <c:v>48.637</c:v>
                </c:pt>
                <c:pt idx="1032">
                  <c:v>48.637</c:v>
                </c:pt>
                <c:pt idx="1033">
                  <c:v>48.468000000000004</c:v>
                </c:pt>
                <c:pt idx="1034">
                  <c:v>48.298999999999999</c:v>
                </c:pt>
                <c:pt idx="1035">
                  <c:v>47.962000000000003</c:v>
                </c:pt>
                <c:pt idx="1036">
                  <c:v>48.468000000000004</c:v>
                </c:pt>
                <c:pt idx="1037">
                  <c:v>48.468000000000004</c:v>
                </c:pt>
                <c:pt idx="1038">
                  <c:v>48.468000000000004</c:v>
                </c:pt>
                <c:pt idx="1039">
                  <c:v>48.13</c:v>
                </c:pt>
                <c:pt idx="1040">
                  <c:v>48.13</c:v>
                </c:pt>
                <c:pt idx="1041">
                  <c:v>48.13</c:v>
                </c:pt>
                <c:pt idx="1042">
                  <c:v>48.13</c:v>
                </c:pt>
                <c:pt idx="1043">
                  <c:v>48.975000000000001</c:v>
                </c:pt>
                <c:pt idx="1044">
                  <c:v>48.975000000000001</c:v>
                </c:pt>
                <c:pt idx="1045">
                  <c:v>48.975000000000001</c:v>
                </c:pt>
                <c:pt idx="1046">
                  <c:v>48.637</c:v>
                </c:pt>
                <c:pt idx="1047">
                  <c:v>48.637</c:v>
                </c:pt>
                <c:pt idx="1048">
                  <c:v>48.805999999999997</c:v>
                </c:pt>
                <c:pt idx="1049">
                  <c:v>48.975000000000001</c:v>
                </c:pt>
                <c:pt idx="1050">
                  <c:v>49.313000000000002</c:v>
                </c:pt>
                <c:pt idx="1051">
                  <c:v>49.313000000000002</c:v>
                </c:pt>
                <c:pt idx="1052">
                  <c:v>49.313000000000002</c:v>
                </c:pt>
                <c:pt idx="1053">
                  <c:v>49.65</c:v>
                </c:pt>
                <c:pt idx="1054">
                  <c:v>48.975000000000001</c:v>
                </c:pt>
                <c:pt idx="1055">
                  <c:v>49.988</c:v>
                </c:pt>
                <c:pt idx="1056">
                  <c:v>49.143999999999998</c:v>
                </c:pt>
                <c:pt idx="1057">
                  <c:v>49.819000000000003</c:v>
                </c:pt>
                <c:pt idx="1058">
                  <c:v>49.819000000000003</c:v>
                </c:pt>
                <c:pt idx="1059">
                  <c:v>49.819000000000003</c:v>
                </c:pt>
                <c:pt idx="1060">
                  <c:v>49.988</c:v>
                </c:pt>
                <c:pt idx="1061">
                  <c:v>50.326000000000001</c:v>
                </c:pt>
                <c:pt idx="1062">
                  <c:v>50.326000000000001</c:v>
                </c:pt>
                <c:pt idx="1063">
                  <c:v>49.313000000000002</c:v>
                </c:pt>
                <c:pt idx="1064">
                  <c:v>49.481000000000002</c:v>
                </c:pt>
                <c:pt idx="1065">
                  <c:v>49.481000000000002</c:v>
                </c:pt>
                <c:pt idx="1066">
                  <c:v>49.481000000000002</c:v>
                </c:pt>
                <c:pt idx="1067">
                  <c:v>50.326000000000001</c:v>
                </c:pt>
                <c:pt idx="1068">
                  <c:v>49.988</c:v>
                </c:pt>
                <c:pt idx="1069">
                  <c:v>49.481000000000002</c:v>
                </c:pt>
                <c:pt idx="1070">
                  <c:v>49.65</c:v>
                </c:pt>
                <c:pt idx="1071">
                  <c:v>49.988</c:v>
                </c:pt>
                <c:pt idx="1072">
                  <c:v>49.988</c:v>
                </c:pt>
                <c:pt idx="1073">
                  <c:v>49.988</c:v>
                </c:pt>
                <c:pt idx="1074">
                  <c:v>49.819000000000003</c:v>
                </c:pt>
                <c:pt idx="1075">
                  <c:v>49.988</c:v>
                </c:pt>
                <c:pt idx="1076">
                  <c:v>49.65</c:v>
                </c:pt>
                <c:pt idx="1077">
                  <c:v>49.988</c:v>
                </c:pt>
                <c:pt idx="1078">
                  <c:v>49.313000000000002</c:v>
                </c:pt>
                <c:pt idx="1079">
                  <c:v>49.313000000000002</c:v>
                </c:pt>
                <c:pt idx="1080">
                  <c:v>49.313000000000002</c:v>
                </c:pt>
                <c:pt idx="1081">
                  <c:v>49.819000000000003</c:v>
                </c:pt>
                <c:pt idx="1082">
                  <c:v>49.65</c:v>
                </c:pt>
                <c:pt idx="1083">
                  <c:v>49.65</c:v>
                </c:pt>
                <c:pt idx="1084">
                  <c:v>48.975000000000001</c:v>
                </c:pt>
                <c:pt idx="1085">
                  <c:v>49.65</c:v>
                </c:pt>
                <c:pt idx="1086">
                  <c:v>49.65</c:v>
                </c:pt>
                <c:pt idx="1087">
                  <c:v>49.65</c:v>
                </c:pt>
                <c:pt idx="1088">
                  <c:v>49.819000000000003</c:v>
                </c:pt>
                <c:pt idx="1089">
                  <c:v>49.65</c:v>
                </c:pt>
                <c:pt idx="1090">
                  <c:v>49.143999999999998</c:v>
                </c:pt>
                <c:pt idx="1091">
                  <c:v>48.637</c:v>
                </c:pt>
                <c:pt idx="1092">
                  <c:v>48.298999999999999</c:v>
                </c:pt>
                <c:pt idx="1093">
                  <c:v>48.298999999999999</c:v>
                </c:pt>
                <c:pt idx="1094">
                  <c:v>48.298999999999999</c:v>
                </c:pt>
                <c:pt idx="1095">
                  <c:v>48.637</c:v>
                </c:pt>
                <c:pt idx="1096">
                  <c:v>48.637</c:v>
                </c:pt>
                <c:pt idx="1097">
                  <c:v>48.468000000000004</c:v>
                </c:pt>
                <c:pt idx="1098">
                  <c:v>47.792999999999999</c:v>
                </c:pt>
                <c:pt idx="1099">
                  <c:v>48.637</c:v>
                </c:pt>
                <c:pt idx="1100">
                  <c:v>48.637</c:v>
                </c:pt>
                <c:pt idx="1101">
                  <c:v>48.637</c:v>
                </c:pt>
                <c:pt idx="1102">
                  <c:v>47.962000000000003</c:v>
                </c:pt>
                <c:pt idx="1103">
                  <c:v>46.610999999999997</c:v>
                </c:pt>
                <c:pt idx="1104">
                  <c:v>46.779000000000003</c:v>
                </c:pt>
                <c:pt idx="1105">
                  <c:v>47.624000000000002</c:v>
                </c:pt>
                <c:pt idx="1106">
                  <c:v>47.116999999999997</c:v>
                </c:pt>
                <c:pt idx="1107">
                  <c:v>47.116999999999997</c:v>
                </c:pt>
                <c:pt idx="1108">
                  <c:v>47.116999999999997</c:v>
                </c:pt>
                <c:pt idx="1109">
                  <c:v>47.624000000000002</c:v>
                </c:pt>
                <c:pt idx="1110">
                  <c:v>47.624000000000002</c:v>
                </c:pt>
                <c:pt idx="1111">
                  <c:v>48.298999999999999</c:v>
                </c:pt>
                <c:pt idx="1112">
                  <c:v>47.962000000000003</c:v>
                </c:pt>
                <c:pt idx="1113">
                  <c:v>48.468000000000004</c:v>
                </c:pt>
                <c:pt idx="1114">
                  <c:v>48.468000000000004</c:v>
                </c:pt>
                <c:pt idx="1115">
                  <c:v>48.468000000000004</c:v>
                </c:pt>
                <c:pt idx="1116">
                  <c:v>49.313000000000002</c:v>
                </c:pt>
                <c:pt idx="1117">
                  <c:v>49.65</c:v>
                </c:pt>
                <c:pt idx="1118">
                  <c:v>49.65</c:v>
                </c:pt>
                <c:pt idx="1119">
                  <c:v>49.313000000000002</c:v>
                </c:pt>
                <c:pt idx="1120">
                  <c:v>48.975000000000001</c:v>
                </c:pt>
                <c:pt idx="1121">
                  <c:v>48.975000000000001</c:v>
                </c:pt>
                <c:pt idx="1122">
                  <c:v>48.975000000000001</c:v>
                </c:pt>
                <c:pt idx="1123">
                  <c:v>48.637</c:v>
                </c:pt>
                <c:pt idx="1124">
                  <c:v>49.65</c:v>
                </c:pt>
                <c:pt idx="1125">
                  <c:v>49.988</c:v>
                </c:pt>
                <c:pt idx="1126">
                  <c:v>50.326000000000001</c:v>
                </c:pt>
                <c:pt idx="1127">
                  <c:v>50.664000000000001</c:v>
                </c:pt>
                <c:pt idx="1128">
                  <c:v>50.664000000000001</c:v>
                </c:pt>
                <c:pt idx="1129">
                  <c:v>50.664000000000001</c:v>
                </c:pt>
                <c:pt idx="1130">
                  <c:v>50.664000000000001</c:v>
                </c:pt>
                <c:pt idx="1131">
                  <c:v>51.000999999999998</c:v>
                </c:pt>
                <c:pt idx="1132">
                  <c:v>51.000999999999998</c:v>
                </c:pt>
                <c:pt idx="1133">
                  <c:v>51.338999999999999</c:v>
                </c:pt>
                <c:pt idx="1134">
                  <c:v>51.000999999999998</c:v>
                </c:pt>
                <c:pt idx="1135">
                  <c:v>51.000999999999998</c:v>
                </c:pt>
                <c:pt idx="1136">
                  <c:v>51.000999999999998</c:v>
                </c:pt>
                <c:pt idx="1137">
                  <c:v>51.338999999999999</c:v>
                </c:pt>
                <c:pt idx="1138">
                  <c:v>50.326000000000001</c:v>
                </c:pt>
                <c:pt idx="1139">
                  <c:v>51.000999999999998</c:v>
                </c:pt>
                <c:pt idx="1140">
                  <c:v>48.975000000000001</c:v>
                </c:pt>
                <c:pt idx="1141">
                  <c:v>50.326000000000001</c:v>
                </c:pt>
                <c:pt idx="1142">
                  <c:v>50.326000000000001</c:v>
                </c:pt>
                <c:pt idx="1143">
                  <c:v>50.326000000000001</c:v>
                </c:pt>
                <c:pt idx="1144">
                  <c:v>47.962000000000003</c:v>
                </c:pt>
                <c:pt idx="1145">
                  <c:v>49.65</c:v>
                </c:pt>
                <c:pt idx="1146">
                  <c:v>50.156999999999996</c:v>
                </c:pt>
                <c:pt idx="1147">
                  <c:v>50.326000000000001</c:v>
                </c:pt>
                <c:pt idx="1148">
                  <c:v>49.988</c:v>
                </c:pt>
                <c:pt idx="1149">
                  <c:v>49.988</c:v>
                </c:pt>
                <c:pt idx="1150">
                  <c:v>49.988</c:v>
                </c:pt>
                <c:pt idx="1151">
                  <c:v>49.988</c:v>
                </c:pt>
                <c:pt idx="1152">
                  <c:v>49.988</c:v>
                </c:pt>
                <c:pt idx="1153">
                  <c:v>49.988</c:v>
                </c:pt>
                <c:pt idx="1154">
                  <c:v>50.326000000000001</c:v>
                </c:pt>
                <c:pt idx="1155">
                  <c:v>49.481000000000002</c:v>
                </c:pt>
                <c:pt idx="1156">
                  <c:v>49.481000000000002</c:v>
                </c:pt>
                <c:pt idx="1157">
                  <c:v>49.481000000000002</c:v>
                </c:pt>
                <c:pt idx="1158">
                  <c:v>49.988</c:v>
                </c:pt>
                <c:pt idx="1159">
                  <c:v>50.156999999999996</c:v>
                </c:pt>
                <c:pt idx="1160">
                  <c:v>49.988</c:v>
                </c:pt>
                <c:pt idx="1161">
                  <c:v>49.988</c:v>
                </c:pt>
                <c:pt idx="1162">
                  <c:v>50.326000000000001</c:v>
                </c:pt>
                <c:pt idx="1163">
                  <c:v>50.326000000000001</c:v>
                </c:pt>
                <c:pt idx="1164">
                  <c:v>50.326000000000001</c:v>
                </c:pt>
                <c:pt idx="1165">
                  <c:v>50.664000000000001</c:v>
                </c:pt>
                <c:pt idx="1166">
                  <c:v>50.494999999999997</c:v>
                </c:pt>
                <c:pt idx="1167">
                  <c:v>50.494999999999997</c:v>
                </c:pt>
                <c:pt idx="1168">
                  <c:v>50.664000000000001</c:v>
                </c:pt>
                <c:pt idx="1169">
                  <c:v>49.988</c:v>
                </c:pt>
                <c:pt idx="1170">
                  <c:v>49.988</c:v>
                </c:pt>
                <c:pt idx="1171">
                  <c:v>49.988</c:v>
                </c:pt>
                <c:pt idx="1172">
                  <c:v>49.65</c:v>
                </c:pt>
                <c:pt idx="1173">
                  <c:v>49.65</c:v>
                </c:pt>
                <c:pt idx="1174">
                  <c:v>50.326000000000001</c:v>
                </c:pt>
                <c:pt idx="1175">
                  <c:v>50.326000000000001</c:v>
                </c:pt>
                <c:pt idx="1176">
                  <c:v>51.338999999999999</c:v>
                </c:pt>
                <c:pt idx="1177">
                  <c:v>51.338999999999999</c:v>
                </c:pt>
                <c:pt idx="1178">
                  <c:v>51.338999999999999</c:v>
                </c:pt>
                <c:pt idx="1179">
                  <c:v>52.015000000000001</c:v>
                </c:pt>
                <c:pt idx="1180">
                  <c:v>51.677</c:v>
                </c:pt>
                <c:pt idx="1181">
                  <c:v>51.677</c:v>
                </c:pt>
                <c:pt idx="1182">
                  <c:v>51.677</c:v>
                </c:pt>
                <c:pt idx="1183">
                  <c:v>51.677</c:v>
                </c:pt>
                <c:pt idx="1184">
                  <c:v>51.677</c:v>
                </c:pt>
                <c:pt idx="1185">
                  <c:v>51.677</c:v>
                </c:pt>
                <c:pt idx="1186">
                  <c:v>52.183999999999997</c:v>
                </c:pt>
                <c:pt idx="1187">
                  <c:v>53.366</c:v>
                </c:pt>
                <c:pt idx="1188">
                  <c:v>53.366</c:v>
                </c:pt>
                <c:pt idx="1189">
                  <c:v>53.366</c:v>
                </c:pt>
                <c:pt idx="1190">
                  <c:v>53.366</c:v>
                </c:pt>
                <c:pt idx="1191">
                  <c:v>53.366</c:v>
                </c:pt>
                <c:pt idx="1192">
                  <c:v>53.366</c:v>
                </c:pt>
                <c:pt idx="1193">
                  <c:v>53.366</c:v>
                </c:pt>
                <c:pt idx="1194">
                  <c:v>53.197000000000003</c:v>
                </c:pt>
                <c:pt idx="1195">
                  <c:v>52.521000000000001</c:v>
                </c:pt>
                <c:pt idx="1196">
                  <c:v>52.521000000000001</c:v>
                </c:pt>
                <c:pt idx="1197">
                  <c:v>53.366</c:v>
                </c:pt>
                <c:pt idx="1198">
                  <c:v>53.366</c:v>
                </c:pt>
                <c:pt idx="1199">
                  <c:v>53.366</c:v>
                </c:pt>
                <c:pt idx="1200">
                  <c:v>52.69</c:v>
                </c:pt>
                <c:pt idx="1201">
                  <c:v>53.027999999999999</c:v>
                </c:pt>
                <c:pt idx="1202">
                  <c:v>52.69</c:v>
                </c:pt>
                <c:pt idx="1203">
                  <c:v>52.183999999999997</c:v>
                </c:pt>
                <c:pt idx="1204">
                  <c:v>53.027999999999999</c:v>
                </c:pt>
                <c:pt idx="1205">
                  <c:v>53.027999999999999</c:v>
                </c:pt>
                <c:pt idx="1206">
                  <c:v>53.027999999999999</c:v>
                </c:pt>
                <c:pt idx="1207">
                  <c:v>53.366</c:v>
                </c:pt>
                <c:pt idx="1208">
                  <c:v>53.872</c:v>
                </c:pt>
                <c:pt idx="1209">
                  <c:v>53.703000000000003</c:v>
                </c:pt>
                <c:pt idx="1210">
                  <c:v>54.040999999999997</c:v>
                </c:pt>
                <c:pt idx="1211">
                  <c:v>54.716999999999999</c:v>
                </c:pt>
                <c:pt idx="1212">
                  <c:v>54.716999999999999</c:v>
                </c:pt>
                <c:pt idx="1213">
                  <c:v>54.716999999999999</c:v>
                </c:pt>
                <c:pt idx="1214">
                  <c:v>54.716999999999999</c:v>
                </c:pt>
                <c:pt idx="1215">
                  <c:v>55.392000000000003</c:v>
                </c:pt>
                <c:pt idx="1216">
                  <c:v>55.561</c:v>
                </c:pt>
                <c:pt idx="1217">
                  <c:v>56.743000000000002</c:v>
                </c:pt>
                <c:pt idx="1218">
                  <c:v>57.081000000000003</c:v>
                </c:pt>
                <c:pt idx="1219">
                  <c:v>57.081000000000003</c:v>
                </c:pt>
                <c:pt idx="1220">
                  <c:v>57.081000000000003</c:v>
                </c:pt>
                <c:pt idx="1221">
                  <c:v>58.094000000000001</c:v>
                </c:pt>
                <c:pt idx="1222">
                  <c:v>59.445</c:v>
                </c:pt>
                <c:pt idx="1223">
                  <c:v>59.445</c:v>
                </c:pt>
                <c:pt idx="1224">
                  <c:v>58.432000000000002</c:v>
                </c:pt>
                <c:pt idx="1225">
                  <c:v>58.77</c:v>
                </c:pt>
                <c:pt idx="1226">
                  <c:v>58.77</c:v>
                </c:pt>
                <c:pt idx="1227">
                  <c:v>58.77</c:v>
                </c:pt>
                <c:pt idx="1228">
                  <c:v>58.77</c:v>
                </c:pt>
                <c:pt idx="1229">
                  <c:v>59.107999999999997</c:v>
                </c:pt>
                <c:pt idx="1230">
                  <c:v>59.783000000000001</c:v>
                </c:pt>
                <c:pt idx="1231">
                  <c:v>60.459000000000003</c:v>
                </c:pt>
                <c:pt idx="1232">
                  <c:v>60.795999999999999</c:v>
                </c:pt>
                <c:pt idx="1233">
                  <c:v>60.795999999999999</c:v>
                </c:pt>
                <c:pt idx="1234">
                  <c:v>60.795999999999999</c:v>
                </c:pt>
                <c:pt idx="1235">
                  <c:v>61.302999999999997</c:v>
                </c:pt>
                <c:pt idx="1236">
                  <c:v>61.81</c:v>
                </c:pt>
                <c:pt idx="1237">
                  <c:v>61.134</c:v>
                </c:pt>
                <c:pt idx="1238">
                  <c:v>60.965000000000003</c:v>
                </c:pt>
                <c:pt idx="1239">
                  <c:v>61.472000000000001</c:v>
                </c:pt>
                <c:pt idx="1240">
                  <c:v>61.472000000000001</c:v>
                </c:pt>
                <c:pt idx="1241">
                  <c:v>61.472000000000001</c:v>
                </c:pt>
                <c:pt idx="1242">
                  <c:v>61.472000000000001</c:v>
                </c:pt>
                <c:pt idx="1243">
                  <c:v>61.472000000000001</c:v>
                </c:pt>
                <c:pt idx="1244">
                  <c:v>61.472000000000001</c:v>
                </c:pt>
                <c:pt idx="1245">
                  <c:v>61.472000000000001</c:v>
                </c:pt>
                <c:pt idx="1246">
                  <c:v>61.134</c:v>
                </c:pt>
                <c:pt idx="1247">
                  <c:v>61.134</c:v>
                </c:pt>
                <c:pt idx="1248">
                  <c:v>61.134</c:v>
                </c:pt>
                <c:pt idx="1249">
                  <c:v>62.146999999999998</c:v>
                </c:pt>
                <c:pt idx="1250">
                  <c:v>62.146999999999998</c:v>
                </c:pt>
                <c:pt idx="1251">
                  <c:v>62.146999999999998</c:v>
                </c:pt>
                <c:pt idx="1252">
                  <c:v>62.146999999999998</c:v>
                </c:pt>
                <c:pt idx="1253">
                  <c:v>62.146999999999998</c:v>
                </c:pt>
                <c:pt idx="1254">
                  <c:v>62.146999999999998</c:v>
                </c:pt>
                <c:pt idx="1255">
                  <c:v>62.146999999999998</c:v>
                </c:pt>
                <c:pt idx="1256">
                  <c:v>62.146999999999998</c:v>
                </c:pt>
                <c:pt idx="1257">
                  <c:v>61.81</c:v>
                </c:pt>
                <c:pt idx="1258">
                  <c:v>62.484999999999999</c:v>
                </c:pt>
                <c:pt idx="1259">
                  <c:v>63.497999999999998</c:v>
                </c:pt>
                <c:pt idx="1260">
                  <c:v>62.823</c:v>
                </c:pt>
                <c:pt idx="1261">
                  <c:v>62.823</c:v>
                </c:pt>
                <c:pt idx="1262">
                  <c:v>62.823</c:v>
                </c:pt>
                <c:pt idx="1263">
                  <c:v>64.004999999999995</c:v>
                </c:pt>
                <c:pt idx="1264">
                  <c:v>66.537999999999997</c:v>
                </c:pt>
                <c:pt idx="1265">
                  <c:v>66.876000000000005</c:v>
                </c:pt>
                <c:pt idx="1266">
                  <c:v>66.537999999999997</c:v>
                </c:pt>
                <c:pt idx="1267">
                  <c:v>66.537999999999997</c:v>
                </c:pt>
                <c:pt idx="1268">
                  <c:v>66.537999999999997</c:v>
                </c:pt>
                <c:pt idx="1269">
                  <c:v>66.537999999999997</c:v>
                </c:pt>
                <c:pt idx="1270">
                  <c:v>67.213999999999999</c:v>
                </c:pt>
                <c:pt idx="1271">
                  <c:v>67.213999999999999</c:v>
                </c:pt>
                <c:pt idx="1272">
                  <c:v>67.213999999999999</c:v>
                </c:pt>
                <c:pt idx="1273">
                  <c:v>67.213999999999999</c:v>
                </c:pt>
                <c:pt idx="1274">
                  <c:v>66.876000000000005</c:v>
                </c:pt>
                <c:pt idx="1275">
                  <c:v>66.876000000000005</c:v>
                </c:pt>
                <c:pt idx="1276">
                  <c:v>66.876000000000005</c:v>
                </c:pt>
                <c:pt idx="1277">
                  <c:v>67.382999999999996</c:v>
                </c:pt>
                <c:pt idx="1278">
                  <c:v>66.876000000000005</c:v>
                </c:pt>
                <c:pt idx="1279">
                  <c:v>66.876000000000005</c:v>
                </c:pt>
                <c:pt idx="1280">
                  <c:v>66.876000000000005</c:v>
                </c:pt>
                <c:pt idx="1281">
                  <c:v>66.876000000000005</c:v>
                </c:pt>
                <c:pt idx="1282">
                  <c:v>66.876000000000005</c:v>
                </c:pt>
                <c:pt idx="1283">
                  <c:v>66.876000000000005</c:v>
                </c:pt>
                <c:pt idx="1284">
                  <c:v>66.876000000000005</c:v>
                </c:pt>
                <c:pt idx="1285">
                  <c:v>65.525000000000006</c:v>
                </c:pt>
                <c:pt idx="1286">
                  <c:v>65.018000000000001</c:v>
                </c:pt>
                <c:pt idx="1287">
                  <c:v>64.343000000000004</c:v>
                </c:pt>
                <c:pt idx="1288">
                  <c:v>62.823</c:v>
                </c:pt>
                <c:pt idx="1289">
                  <c:v>62.823</c:v>
                </c:pt>
                <c:pt idx="1290">
                  <c:v>62.823</c:v>
                </c:pt>
                <c:pt idx="1291">
                  <c:v>62.823</c:v>
                </c:pt>
                <c:pt idx="1292">
                  <c:v>62.316000000000003</c:v>
                </c:pt>
                <c:pt idx="1293">
                  <c:v>62.654000000000003</c:v>
                </c:pt>
                <c:pt idx="1294">
                  <c:v>63.497999999999998</c:v>
                </c:pt>
                <c:pt idx="1295">
                  <c:v>64.512</c:v>
                </c:pt>
                <c:pt idx="1296">
                  <c:v>64.512</c:v>
                </c:pt>
                <c:pt idx="1297">
                  <c:v>64.512</c:v>
                </c:pt>
                <c:pt idx="1298">
                  <c:v>65.355999999999995</c:v>
                </c:pt>
                <c:pt idx="1299">
                  <c:v>65.525000000000006</c:v>
                </c:pt>
                <c:pt idx="1300">
                  <c:v>66.706999999999994</c:v>
                </c:pt>
                <c:pt idx="1301">
                  <c:v>66.876000000000005</c:v>
                </c:pt>
                <c:pt idx="1302">
                  <c:v>67.551000000000002</c:v>
                </c:pt>
                <c:pt idx="1303">
                  <c:v>67.551000000000002</c:v>
                </c:pt>
                <c:pt idx="1304">
                  <c:v>67.551000000000002</c:v>
                </c:pt>
                <c:pt idx="1305">
                  <c:v>67.888999999999996</c:v>
                </c:pt>
                <c:pt idx="1306">
                  <c:v>67.888999999999996</c:v>
                </c:pt>
                <c:pt idx="1307">
                  <c:v>68.903000000000006</c:v>
                </c:pt>
                <c:pt idx="1308">
                  <c:v>70.254000000000005</c:v>
                </c:pt>
                <c:pt idx="1309">
                  <c:v>70.254000000000005</c:v>
                </c:pt>
                <c:pt idx="1310">
                  <c:v>70.254000000000005</c:v>
                </c:pt>
                <c:pt idx="1311">
                  <c:v>70.254000000000005</c:v>
                </c:pt>
                <c:pt idx="1312">
                  <c:v>70.929000000000002</c:v>
                </c:pt>
                <c:pt idx="1313">
                  <c:v>71.605000000000004</c:v>
                </c:pt>
                <c:pt idx="1314">
                  <c:v>72.617999999999995</c:v>
                </c:pt>
                <c:pt idx="1315">
                  <c:v>71.941999999999993</c:v>
                </c:pt>
                <c:pt idx="1316">
                  <c:v>72.617999999999995</c:v>
                </c:pt>
                <c:pt idx="1317">
                  <c:v>72.617999999999995</c:v>
                </c:pt>
                <c:pt idx="1318">
                  <c:v>72.617999999999995</c:v>
                </c:pt>
                <c:pt idx="1319">
                  <c:v>73.293000000000006</c:v>
                </c:pt>
                <c:pt idx="1320">
                  <c:v>73.293000000000006</c:v>
                </c:pt>
                <c:pt idx="1321">
                  <c:v>75.658000000000001</c:v>
                </c:pt>
                <c:pt idx="1322">
                  <c:v>75.658000000000001</c:v>
                </c:pt>
                <c:pt idx="1323">
                  <c:v>72.122</c:v>
                </c:pt>
                <c:pt idx="1324">
                  <c:v>72.122</c:v>
                </c:pt>
                <c:pt idx="1325">
                  <c:v>72.122</c:v>
                </c:pt>
                <c:pt idx="1326">
                  <c:v>74.244</c:v>
                </c:pt>
                <c:pt idx="1327">
                  <c:v>74.244</c:v>
                </c:pt>
                <c:pt idx="1328">
                  <c:v>74.244</c:v>
                </c:pt>
                <c:pt idx="1329">
                  <c:v>74.244</c:v>
                </c:pt>
                <c:pt idx="1330">
                  <c:v>76.364999999999995</c:v>
                </c:pt>
                <c:pt idx="1331">
                  <c:v>76.364999999999995</c:v>
                </c:pt>
                <c:pt idx="1332">
                  <c:v>76.364999999999995</c:v>
                </c:pt>
                <c:pt idx="1333">
                  <c:v>76.364999999999995</c:v>
                </c:pt>
                <c:pt idx="1334">
                  <c:v>74.244</c:v>
                </c:pt>
                <c:pt idx="1335">
                  <c:v>75.304000000000002</c:v>
                </c:pt>
                <c:pt idx="1336">
                  <c:v>75.658000000000001</c:v>
                </c:pt>
                <c:pt idx="1337">
                  <c:v>79.192999999999998</c:v>
                </c:pt>
                <c:pt idx="1338">
                  <c:v>79.192999999999998</c:v>
                </c:pt>
                <c:pt idx="1339">
                  <c:v>79.192999999999998</c:v>
                </c:pt>
                <c:pt idx="1340">
                  <c:v>80.606999999999999</c:v>
                </c:pt>
                <c:pt idx="1341">
                  <c:v>79.900000000000006</c:v>
                </c:pt>
                <c:pt idx="1342">
                  <c:v>79.192999999999998</c:v>
                </c:pt>
                <c:pt idx="1343">
                  <c:v>78.84</c:v>
                </c:pt>
                <c:pt idx="1344">
                  <c:v>78.84</c:v>
                </c:pt>
                <c:pt idx="1345">
                  <c:v>78.84</c:v>
                </c:pt>
                <c:pt idx="1346">
                  <c:v>78.84</c:v>
                </c:pt>
                <c:pt idx="1347">
                  <c:v>77.778999999999996</c:v>
                </c:pt>
                <c:pt idx="1348">
                  <c:v>77.072000000000003</c:v>
                </c:pt>
                <c:pt idx="1349">
                  <c:v>77.778999999999996</c:v>
                </c:pt>
                <c:pt idx="1350">
                  <c:v>78.486000000000004</c:v>
                </c:pt>
                <c:pt idx="1351">
                  <c:v>76.718000000000004</c:v>
                </c:pt>
                <c:pt idx="1352">
                  <c:v>76.718000000000004</c:v>
                </c:pt>
                <c:pt idx="1353">
                  <c:v>76.718000000000004</c:v>
                </c:pt>
                <c:pt idx="1354">
                  <c:v>74.950999999999993</c:v>
                </c:pt>
                <c:pt idx="1355">
                  <c:v>72.475999999999999</c:v>
                </c:pt>
                <c:pt idx="1356">
                  <c:v>71.769000000000005</c:v>
                </c:pt>
                <c:pt idx="1357">
                  <c:v>70.707999999999998</c:v>
                </c:pt>
                <c:pt idx="1358">
                  <c:v>73.89</c:v>
                </c:pt>
                <c:pt idx="1359">
                  <c:v>73.89</c:v>
                </c:pt>
                <c:pt idx="1360">
                  <c:v>73.89</c:v>
                </c:pt>
                <c:pt idx="1361">
                  <c:v>74.950999999999993</c:v>
                </c:pt>
                <c:pt idx="1362">
                  <c:v>77.072000000000003</c:v>
                </c:pt>
                <c:pt idx="1363">
                  <c:v>77.424999999999997</c:v>
                </c:pt>
                <c:pt idx="1364">
                  <c:v>77.072000000000003</c:v>
                </c:pt>
                <c:pt idx="1365">
                  <c:v>75.658000000000001</c:v>
                </c:pt>
                <c:pt idx="1366">
                  <c:v>75.658000000000001</c:v>
                </c:pt>
                <c:pt idx="1367">
                  <c:v>75.658000000000001</c:v>
                </c:pt>
                <c:pt idx="1368">
                  <c:v>73.89</c:v>
                </c:pt>
                <c:pt idx="1369">
                  <c:v>74.596999999999994</c:v>
                </c:pt>
                <c:pt idx="1370">
                  <c:v>72.122</c:v>
                </c:pt>
                <c:pt idx="1371">
                  <c:v>72.122</c:v>
                </c:pt>
                <c:pt idx="1372">
                  <c:v>72.122</c:v>
                </c:pt>
                <c:pt idx="1373">
                  <c:v>72.122</c:v>
                </c:pt>
                <c:pt idx="1374">
                  <c:v>72.122</c:v>
                </c:pt>
                <c:pt idx="1375">
                  <c:v>74.244</c:v>
                </c:pt>
                <c:pt idx="1376">
                  <c:v>72.122</c:v>
                </c:pt>
                <c:pt idx="1377">
                  <c:v>72.828999999999994</c:v>
                </c:pt>
                <c:pt idx="1378">
                  <c:v>71.769000000000005</c:v>
                </c:pt>
                <c:pt idx="1379">
                  <c:v>73.89</c:v>
                </c:pt>
                <c:pt idx="1380">
                  <c:v>73.89</c:v>
                </c:pt>
                <c:pt idx="1381">
                  <c:v>73.89</c:v>
                </c:pt>
                <c:pt idx="1382">
                  <c:v>73.536000000000001</c:v>
                </c:pt>
                <c:pt idx="1383">
                  <c:v>73.183000000000007</c:v>
                </c:pt>
                <c:pt idx="1384">
                  <c:v>73.536000000000001</c:v>
                </c:pt>
                <c:pt idx="1385">
                  <c:v>74.596999999999994</c:v>
                </c:pt>
                <c:pt idx="1386">
                  <c:v>74.950999999999993</c:v>
                </c:pt>
                <c:pt idx="1387">
                  <c:v>74.950999999999993</c:v>
                </c:pt>
                <c:pt idx="1388">
                  <c:v>74.950999999999993</c:v>
                </c:pt>
                <c:pt idx="1389">
                  <c:v>74.244</c:v>
                </c:pt>
                <c:pt idx="1390">
                  <c:v>73.536000000000001</c:v>
                </c:pt>
                <c:pt idx="1391">
                  <c:v>74.244</c:v>
                </c:pt>
                <c:pt idx="1392">
                  <c:v>73.183000000000007</c:v>
                </c:pt>
                <c:pt idx="1393">
                  <c:v>72.828999999999994</c:v>
                </c:pt>
                <c:pt idx="1394">
                  <c:v>72.828999999999994</c:v>
                </c:pt>
                <c:pt idx="1395">
                  <c:v>72.828999999999994</c:v>
                </c:pt>
                <c:pt idx="1396">
                  <c:v>72.475999999999999</c:v>
                </c:pt>
                <c:pt idx="1397">
                  <c:v>73.536000000000001</c:v>
                </c:pt>
                <c:pt idx="1398">
                  <c:v>73.183000000000007</c:v>
                </c:pt>
                <c:pt idx="1399">
                  <c:v>74.596999999999994</c:v>
                </c:pt>
                <c:pt idx="1400">
                  <c:v>74.596999999999994</c:v>
                </c:pt>
                <c:pt idx="1401">
                  <c:v>74.596999999999994</c:v>
                </c:pt>
                <c:pt idx="1402">
                  <c:v>74.596999999999994</c:v>
                </c:pt>
                <c:pt idx="1403">
                  <c:v>72.828999999999994</c:v>
                </c:pt>
                <c:pt idx="1404">
                  <c:v>73.183000000000007</c:v>
                </c:pt>
                <c:pt idx="1405">
                  <c:v>73.536000000000001</c:v>
                </c:pt>
                <c:pt idx="1406">
                  <c:v>73.183000000000007</c:v>
                </c:pt>
                <c:pt idx="1407">
                  <c:v>73.183000000000007</c:v>
                </c:pt>
                <c:pt idx="1408">
                  <c:v>73.183000000000007</c:v>
                </c:pt>
                <c:pt idx="1409">
                  <c:v>73.183000000000007</c:v>
                </c:pt>
                <c:pt idx="1410">
                  <c:v>73.183000000000007</c:v>
                </c:pt>
                <c:pt idx="1411">
                  <c:v>72.828999999999994</c:v>
                </c:pt>
                <c:pt idx="1412">
                  <c:v>70.707999999999998</c:v>
                </c:pt>
                <c:pt idx="1413">
                  <c:v>71.415000000000006</c:v>
                </c:pt>
                <c:pt idx="1414">
                  <c:v>71.769000000000005</c:v>
                </c:pt>
                <c:pt idx="1415">
                  <c:v>71.769000000000005</c:v>
                </c:pt>
                <c:pt idx="1416">
                  <c:v>71.769000000000005</c:v>
                </c:pt>
                <c:pt idx="1417">
                  <c:v>72.122</c:v>
                </c:pt>
                <c:pt idx="1418">
                  <c:v>72.475999999999999</c:v>
                </c:pt>
                <c:pt idx="1419">
                  <c:v>72.122</c:v>
                </c:pt>
                <c:pt idx="1420">
                  <c:v>71.769000000000005</c:v>
                </c:pt>
                <c:pt idx="1421">
                  <c:v>75.658000000000001</c:v>
                </c:pt>
                <c:pt idx="1422">
                  <c:v>75.658000000000001</c:v>
                </c:pt>
                <c:pt idx="1423">
                  <c:v>75.658000000000001</c:v>
                </c:pt>
                <c:pt idx="1424">
                  <c:v>74.244</c:v>
                </c:pt>
                <c:pt idx="1425">
                  <c:v>75.658000000000001</c:v>
                </c:pt>
                <c:pt idx="1426">
                  <c:v>76.364999999999995</c:v>
                </c:pt>
                <c:pt idx="1427">
                  <c:v>77.072000000000003</c:v>
                </c:pt>
                <c:pt idx="1428">
                  <c:v>76.364999999999995</c:v>
                </c:pt>
                <c:pt idx="1429">
                  <c:v>76.364999999999995</c:v>
                </c:pt>
                <c:pt idx="1430">
                  <c:v>76.364999999999995</c:v>
                </c:pt>
                <c:pt idx="1431">
                  <c:v>76.364999999999995</c:v>
                </c:pt>
                <c:pt idx="1432">
                  <c:v>75.658000000000001</c:v>
                </c:pt>
                <c:pt idx="1433">
                  <c:v>75.658000000000001</c:v>
                </c:pt>
                <c:pt idx="1434">
                  <c:v>74.950999999999993</c:v>
                </c:pt>
                <c:pt idx="1435">
                  <c:v>74.596999999999994</c:v>
                </c:pt>
                <c:pt idx="1436">
                  <c:v>74.596999999999994</c:v>
                </c:pt>
                <c:pt idx="1437">
                  <c:v>74.596999999999994</c:v>
                </c:pt>
                <c:pt idx="1438">
                  <c:v>74.950999999999993</c:v>
                </c:pt>
                <c:pt idx="1439">
                  <c:v>74.950999999999993</c:v>
                </c:pt>
                <c:pt idx="1440">
                  <c:v>74.950999999999993</c:v>
                </c:pt>
                <c:pt idx="1441">
                  <c:v>74.950999999999993</c:v>
                </c:pt>
                <c:pt idx="1442">
                  <c:v>75.658000000000001</c:v>
                </c:pt>
                <c:pt idx="1443">
                  <c:v>75.658000000000001</c:v>
                </c:pt>
                <c:pt idx="1444">
                  <c:v>75.658000000000001</c:v>
                </c:pt>
                <c:pt idx="1445">
                  <c:v>76.364999999999995</c:v>
                </c:pt>
                <c:pt idx="1446">
                  <c:v>76.364999999999995</c:v>
                </c:pt>
                <c:pt idx="1447">
                  <c:v>76.718000000000004</c:v>
                </c:pt>
                <c:pt idx="1448">
                  <c:v>77.072000000000003</c:v>
                </c:pt>
                <c:pt idx="1449">
                  <c:v>76.718000000000004</c:v>
                </c:pt>
                <c:pt idx="1450">
                  <c:v>76.718000000000004</c:v>
                </c:pt>
                <c:pt idx="1451">
                  <c:v>76.718000000000004</c:v>
                </c:pt>
                <c:pt idx="1452">
                  <c:v>77.424999999999997</c:v>
                </c:pt>
                <c:pt idx="1453">
                  <c:v>77.072000000000003</c:v>
                </c:pt>
                <c:pt idx="1454">
                  <c:v>77.424999999999997</c:v>
                </c:pt>
                <c:pt idx="1455">
                  <c:v>77.778999999999996</c:v>
                </c:pt>
                <c:pt idx="1456">
                  <c:v>77.778999999999996</c:v>
                </c:pt>
                <c:pt idx="1457">
                  <c:v>77.778999999999996</c:v>
                </c:pt>
                <c:pt idx="1458">
                  <c:v>77.778999999999996</c:v>
                </c:pt>
                <c:pt idx="1459">
                  <c:v>78.132000000000005</c:v>
                </c:pt>
                <c:pt idx="1460">
                  <c:v>77.778999999999996</c:v>
                </c:pt>
                <c:pt idx="1461">
                  <c:v>77.778999999999996</c:v>
                </c:pt>
                <c:pt idx="1462">
                  <c:v>78.486000000000004</c:v>
                </c:pt>
                <c:pt idx="1463">
                  <c:v>79.192999999999998</c:v>
                </c:pt>
                <c:pt idx="1464">
                  <c:v>79.192999999999998</c:v>
                </c:pt>
                <c:pt idx="1465">
                  <c:v>79.192999999999998</c:v>
                </c:pt>
                <c:pt idx="1466">
                  <c:v>79.546999999999997</c:v>
                </c:pt>
                <c:pt idx="1467">
                  <c:v>81.313999999999993</c:v>
                </c:pt>
                <c:pt idx="1468">
                  <c:v>81.313999999999993</c:v>
                </c:pt>
                <c:pt idx="1469">
                  <c:v>81.668000000000006</c:v>
                </c:pt>
                <c:pt idx="1470">
                  <c:v>81.313999999999993</c:v>
                </c:pt>
                <c:pt idx="1471">
                  <c:v>81.313999999999993</c:v>
                </c:pt>
                <c:pt idx="1472">
                  <c:v>81.313999999999993</c:v>
                </c:pt>
                <c:pt idx="1473">
                  <c:v>80.606999999999999</c:v>
                </c:pt>
                <c:pt idx="1474">
                  <c:v>84.143000000000001</c:v>
                </c:pt>
                <c:pt idx="1475">
                  <c:v>85.203000000000003</c:v>
                </c:pt>
                <c:pt idx="1476">
                  <c:v>84.85</c:v>
                </c:pt>
                <c:pt idx="1477">
                  <c:v>88.385000000000005</c:v>
                </c:pt>
                <c:pt idx="1478">
                  <c:v>88.385000000000005</c:v>
                </c:pt>
                <c:pt idx="1479">
                  <c:v>88.385000000000005</c:v>
                </c:pt>
                <c:pt idx="1480">
                  <c:v>89.799000000000007</c:v>
                </c:pt>
                <c:pt idx="1481">
                  <c:v>91.921000000000006</c:v>
                </c:pt>
                <c:pt idx="1482">
                  <c:v>91.566999999999993</c:v>
                </c:pt>
                <c:pt idx="1483">
                  <c:v>89.445999999999998</c:v>
                </c:pt>
                <c:pt idx="1484">
                  <c:v>90.506</c:v>
                </c:pt>
                <c:pt idx="1485">
                  <c:v>90.506</c:v>
                </c:pt>
                <c:pt idx="1486">
                  <c:v>90.506</c:v>
                </c:pt>
                <c:pt idx="1487">
                  <c:v>90.86</c:v>
                </c:pt>
                <c:pt idx="1488">
                  <c:v>90.153000000000006</c:v>
                </c:pt>
                <c:pt idx="1489">
                  <c:v>88.385000000000005</c:v>
                </c:pt>
                <c:pt idx="1490">
                  <c:v>89.445999999999998</c:v>
                </c:pt>
                <c:pt idx="1491">
                  <c:v>89.091999999999999</c:v>
                </c:pt>
                <c:pt idx="1492">
                  <c:v>89.091999999999999</c:v>
                </c:pt>
                <c:pt idx="1493">
                  <c:v>89.091999999999999</c:v>
                </c:pt>
                <c:pt idx="1494">
                  <c:v>87.677999999999997</c:v>
                </c:pt>
                <c:pt idx="1495">
                  <c:v>86.617000000000004</c:v>
                </c:pt>
                <c:pt idx="1496">
                  <c:v>89.091999999999999</c:v>
                </c:pt>
                <c:pt idx="1497">
                  <c:v>88.031999999999996</c:v>
                </c:pt>
                <c:pt idx="1498">
                  <c:v>89.799000000000007</c:v>
                </c:pt>
                <c:pt idx="1499">
                  <c:v>89.799000000000007</c:v>
                </c:pt>
                <c:pt idx="1500">
                  <c:v>89.799000000000007</c:v>
                </c:pt>
                <c:pt idx="1501">
                  <c:v>90.153000000000006</c:v>
                </c:pt>
                <c:pt idx="1502">
                  <c:v>89.445999999999998</c:v>
                </c:pt>
                <c:pt idx="1503">
                  <c:v>89.091999999999999</c:v>
                </c:pt>
                <c:pt idx="1504">
                  <c:v>90.153000000000006</c:v>
                </c:pt>
                <c:pt idx="1505">
                  <c:v>91.566999999999993</c:v>
                </c:pt>
                <c:pt idx="1506">
                  <c:v>91.566999999999993</c:v>
                </c:pt>
                <c:pt idx="1507">
                  <c:v>91.566999999999993</c:v>
                </c:pt>
                <c:pt idx="1508">
                  <c:v>92.653000000000006</c:v>
                </c:pt>
                <c:pt idx="1509">
                  <c:v>91.929000000000002</c:v>
                </c:pt>
                <c:pt idx="1510">
                  <c:v>90.480999999999995</c:v>
                </c:pt>
                <c:pt idx="1511">
                  <c:v>91.566999999999993</c:v>
                </c:pt>
                <c:pt idx="1512">
                  <c:v>92.290999999999997</c:v>
                </c:pt>
                <c:pt idx="1513">
                  <c:v>92.290999999999997</c:v>
                </c:pt>
                <c:pt idx="1514">
                  <c:v>92.290999999999997</c:v>
                </c:pt>
                <c:pt idx="1515">
                  <c:v>92.290999999999997</c:v>
                </c:pt>
                <c:pt idx="1516">
                  <c:v>91.929000000000002</c:v>
                </c:pt>
                <c:pt idx="1517">
                  <c:v>92.653000000000006</c:v>
                </c:pt>
                <c:pt idx="1518">
                  <c:v>91.929000000000002</c:v>
                </c:pt>
                <c:pt idx="1519">
                  <c:v>92.290999999999997</c:v>
                </c:pt>
                <c:pt idx="1520">
                  <c:v>92.290999999999997</c:v>
                </c:pt>
                <c:pt idx="1521">
                  <c:v>92.290999999999997</c:v>
                </c:pt>
                <c:pt idx="1522">
                  <c:v>90.843000000000004</c:v>
                </c:pt>
                <c:pt idx="1523">
                  <c:v>91.204999999999998</c:v>
                </c:pt>
                <c:pt idx="1524">
                  <c:v>91.204999999999998</c:v>
                </c:pt>
                <c:pt idx="1525">
                  <c:v>92.290999999999997</c:v>
                </c:pt>
                <c:pt idx="1526">
                  <c:v>92.653000000000006</c:v>
                </c:pt>
                <c:pt idx="1527">
                  <c:v>92.653000000000006</c:v>
                </c:pt>
                <c:pt idx="1528">
                  <c:v>92.653000000000006</c:v>
                </c:pt>
                <c:pt idx="1529">
                  <c:v>93.739000000000004</c:v>
                </c:pt>
                <c:pt idx="1530">
                  <c:v>98.444000000000003</c:v>
                </c:pt>
                <c:pt idx="1531">
                  <c:v>99.167000000000002</c:v>
                </c:pt>
                <c:pt idx="1532">
                  <c:v>99.167000000000002</c:v>
                </c:pt>
                <c:pt idx="1533">
                  <c:v>99.167000000000002</c:v>
                </c:pt>
                <c:pt idx="1534">
                  <c:v>99.167000000000002</c:v>
                </c:pt>
                <c:pt idx="1535">
                  <c:v>99.167000000000002</c:v>
                </c:pt>
                <c:pt idx="1536">
                  <c:v>96.995999999999995</c:v>
                </c:pt>
                <c:pt idx="1537">
                  <c:v>96.272000000000006</c:v>
                </c:pt>
                <c:pt idx="1538">
                  <c:v>95.91</c:v>
                </c:pt>
                <c:pt idx="1539">
                  <c:v>96.995999999999995</c:v>
                </c:pt>
                <c:pt idx="1540">
                  <c:v>96.634</c:v>
                </c:pt>
                <c:pt idx="1541">
                  <c:v>96.634</c:v>
                </c:pt>
                <c:pt idx="1542">
                  <c:v>96.634</c:v>
                </c:pt>
                <c:pt idx="1543">
                  <c:v>96.634</c:v>
                </c:pt>
                <c:pt idx="1544">
                  <c:v>97.72</c:v>
                </c:pt>
                <c:pt idx="1545">
                  <c:v>99.167000000000002</c:v>
                </c:pt>
                <c:pt idx="1546">
                  <c:v>99.167000000000002</c:v>
                </c:pt>
                <c:pt idx="1547">
                  <c:v>99.167000000000002</c:v>
                </c:pt>
                <c:pt idx="1548">
                  <c:v>99.167000000000002</c:v>
                </c:pt>
                <c:pt idx="1549">
                  <c:v>99.167000000000002</c:v>
                </c:pt>
                <c:pt idx="1550">
                  <c:v>99.167000000000002</c:v>
                </c:pt>
                <c:pt idx="1551">
                  <c:v>100.977</c:v>
                </c:pt>
                <c:pt idx="1552">
                  <c:v>100.977</c:v>
                </c:pt>
                <c:pt idx="1553">
                  <c:v>100.977</c:v>
                </c:pt>
                <c:pt idx="1554">
                  <c:v>100.977</c:v>
                </c:pt>
                <c:pt idx="1555">
                  <c:v>100.977</c:v>
                </c:pt>
                <c:pt idx="1556">
                  <c:v>100.977</c:v>
                </c:pt>
                <c:pt idx="1557">
                  <c:v>101.339</c:v>
                </c:pt>
                <c:pt idx="1558">
                  <c:v>101.339</c:v>
                </c:pt>
                <c:pt idx="1559">
                  <c:v>100.253</c:v>
                </c:pt>
                <c:pt idx="1560">
                  <c:v>96.995999999999995</c:v>
                </c:pt>
                <c:pt idx="1561">
                  <c:v>100.977</c:v>
                </c:pt>
                <c:pt idx="1562">
                  <c:v>100.977</c:v>
                </c:pt>
                <c:pt idx="1563">
                  <c:v>100.977</c:v>
                </c:pt>
                <c:pt idx="1564">
                  <c:v>100.977</c:v>
                </c:pt>
                <c:pt idx="1565">
                  <c:v>100.253</c:v>
                </c:pt>
                <c:pt idx="1566">
                  <c:v>99.528999999999996</c:v>
                </c:pt>
                <c:pt idx="1567">
                  <c:v>96.272000000000006</c:v>
                </c:pt>
                <c:pt idx="1568">
                  <c:v>94.1</c:v>
                </c:pt>
                <c:pt idx="1569">
                  <c:v>94.1</c:v>
                </c:pt>
                <c:pt idx="1570">
                  <c:v>94.1</c:v>
                </c:pt>
                <c:pt idx="1571">
                  <c:v>91.204999999999998</c:v>
                </c:pt>
                <c:pt idx="1572">
                  <c:v>93.376999999999995</c:v>
                </c:pt>
                <c:pt idx="1573">
                  <c:v>91.929000000000002</c:v>
                </c:pt>
                <c:pt idx="1574">
                  <c:v>91.929000000000002</c:v>
                </c:pt>
                <c:pt idx="1575">
                  <c:v>94.462000000000003</c:v>
                </c:pt>
                <c:pt idx="1576">
                  <c:v>94.462000000000003</c:v>
                </c:pt>
                <c:pt idx="1577">
                  <c:v>94.462000000000003</c:v>
                </c:pt>
                <c:pt idx="1578">
                  <c:v>93.376999999999995</c:v>
                </c:pt>
                <c:pt idx="1579">
                  <c:v>90.843000000000004</c:v>
                </c:pt>
                <c:pt idx="1580">
                  <c:v>90.119</c:v>
                </c:pt>
                <c:pt idx="1581">
                  <c:v>89.757000000000005</c:v>
                </c:pt>
                <c:pt idx="1582">
                  <c:v>90.843000000000004</c:v>
                </c:pt>
                <c:pt idx="1583">
                  <c:v>90.843000000000004</c:v>
                </c:pt>
                <c:pt idx="1584">
                  <c:v>90.843000000000004</c:v>
                </c:pt>
                <c:pt idx="1585">
                  <c:v>91.566999999999993</c:v>
                </c:pt>
                <c:pt idx="1586">
                  <c:v>89.394999999999996</c:v>
                </c:pt>
                <c:pt idx="1587">
                  <c:v>87.585999999999999</c:v>
                </c:pt>
                <c:pt idx="1588">
                  <c:v>89.757000000000005</c:v>
                </c:pt>
                <c:pt idx="1589">
                  <c:v>90.480999999999995</c:v>
                </c:pt>
                <c:pt idx="1590">
                  <c:v>90.480999999999995</c:v>
                </c:pt>
                <c:pt idx="1591">
                  <c:v>90.480999999999995</c:v>
                </c:pt>
                <c:pt idx="1592">
                  <c:v>90.119</c:v>
                </c:pt>
                <c:pt idx="1593">
                  <c:v>87.585999999999999</c:v>
                </c:pt>
                <c:pt idx="1594">
                  <c:v>86.861999999999995</c:v>
                </c:pt>
                <c:pt idx="1595">
                  <c:v>88.671999999999997</c:v>
                </c:pt>
                <c:pt idx="1596">
                  <c:v>87.585999999999999</c:v>
                </c:pt>
                <c:pt idx="1597">
                  <c:v>87.585999999999999</c:v>
                </c:pt>
                <c:pt idx="1598">
                  <c:v>87.585999999999999</c:v>
                </c:pt>
                <c:pt idx="1599">
                  <c:v>90.119</c:v>
                </c:pt>
                <c:pt idx="1600">
                  <c:v>90.119</c:v>
                </c:pt>
                <c:pt idx="1601">
                  <c:v>91.566999999999993</c:v>
                </c:pt>
                <c:pt idx="1602">
                  <c:v>94.1</c:v>
                </c:pt>
                <c:pt idx="1603">
                  <c:v>93.376999999999995</c:v>
                </c:pt>
                <c:pt idx="1604">
                  <c:v>93.376999999999995</c:v>
                </c:pt>
                <c:pt idx="1605">
                  <c:v>93.376999999999995</c:v>
                </c:pt>
                <c:pt idx="1606">
                  <c:v>94.1</c:v>
                </c:pt>
                <c:pt idx="1607">
                  <c:v>95.548000000000002</c:v>
                </c:pt>
                <c:pt idx="1608">
                  <c:v>93.015000000000001</c:v>
                </c:pt>
                <c:pt idx="1609">
                  <c:v>93.015000000000001</c:v>
                </c:pt>
                <c:pt idx="1610">
                  <c:v>94.1</c:v>
                </c:pt>
                <c:pt idx="1611">
                  <c:v>94.1</c:v>
                </c:pt>
                <c:pt idx="1612">
                  <c:v>94.1</c:v>
                </c:pt>
                <c:pt idx="1613">
                  <c:v>95.186000000000007</c:v>
                </c:pt>
                <c:pt idx="1614">
                  <c:v>94.1</c:v>
                </c:pt>
                <c:pt idx="1615">
                  <c:v>92.653000000000006</c:v>
                </c:pt>
                <c:pt idx="1616">
                  <c:v>94.823999999999998</c:v>
                </c:pt>
                <c:pt idx="1617">
                  <c:v>94.462000000000003</c:v>
                </c:pt>
                <c:pt idx="1618">
                  <c:v>94.462000000000003</c:v>
                </c:pt>
                <c:pt idx="1619">
                  <c:v>94.462000000000003</c:v>
                </c:pt>
                <c:pt idx="1620">
                  <c:v>90.480999999999995</c:v>
                </c:pt>
                <c:pt idx="1621">
                  <c:v>91.566999999999993</c:v>
                </c:pt>
                <c:pt idx="1622">
                  <c:v>89.394999999999996</c:v>
                </c:pt>
                <c:pt idx="1623">
                  <c:v>91.929000000000002</c:v>
                </c:pt>
                <c:pt idx="1624">
                  <c:v>92.653000000000006</c:v>
                </c:pt>
                <c:pt idx="1625">
                  <c:v>92.653000000000006</c:v>
                </c:pt>
                <c:pt idx="1626">
                  <c:v>92.653000000000006</c:v>
                </c:pt>
                <c:pt idx="1627">
                  <c:v>93.376999999999995</c:v>
                </c:pt>
                <c:pt idx="1628">
                  <c:v>92.290999999999997</c:v>
                </c:pt>
                <c:pt idx="1629">
                  <c:v>91.204999999999998</c:v>
                </c:pt>
                <c:pt idx="1630">
                  <c:v>93.376999999999995</c:v>
                </c:pt>
                <c:pt idx="1631">
                  <c:v>91.566999999999993</c:v>
                </c:pt>
                <c:pt idx="1632">
                  <c:v>91.566999999999993</c:v>
                </c:pt>
                <c:pt idx="1633">
                  <c:v>91.566999999999993</c:v>
                </c:pt>
                <c:pt idx="1634">
                  <c:v>94.462000000000003</c:v>
                </c:pt>
                <c:pt idx="1635">
                  <c:v>94.462000000000003</c:v>
                </c:pt>
                <c:pt idx="1636">
                  <c:v>92.653000000000006</c:v>
                </c:pt>
                <c:pt idx="1637">
                  <c:v>92.653000000000006</c:v>
                </c:pt>
                <c:pt idx="1638">
                  <c:v>92.653000000000006</c:v>
                </c:pt>
                <c:pt idx="1639">
                  <c:v>92.653000000000006</c:v>
                </c:pt>
                <c:pt idx="1640">
                  <c:v>92.653000000000006</c:v>
                </c:pt>
                <c:pt idx="1641">
                  <c:v>92.653000000000006</c:v>
                </c:pt>
                <c:pt idx="1642">
                  <c:v>91.566999999999993</c:v>
                </c:pt>
                <c:pt idx="1643">
                  <c:v>94.823999999999998</c:v>
                </c:pt>
                <c:pt idx="1644">
                  <c:v>95.548000000000002</c:v>
                </c:pt>
                <c:pt idx="1645">
                  <c:v>96.272000000000006</c:v>
                </c:pt>
                <c:pt idx="1646">
                  <c:v>96.272000000000006</c:v>
                </c:pt>
                <c:pt idx="1647">
                  <c:v>96.272000000000006</c:v>
                </c:pt>
                <c:pt idx="1648">
                  <c:v>97.358000000000004</c:v>
                </c:pt>
                <c:pt idx="1649">
                  <c:v>98.444000000000003</c:v>
                </c:pt>
                <c:pt idx="1650">
                  <c:v>97.72</c:v>
                </c:pt>
                <c:pt idx="1651">
                  <c:v>96.272000000000006</c:v>
                </c:pt>
                <c:pt idx="1652">
                  <c:v>96.995999999999995</c:v>
                </c:pt>
                <c:pt idx="1653">
                  <c:v>96.995999999999995</c:v>
                </c:pt>
                <c:pt idx="1654">
                  <c:v>96.995999999999995</c:v>
                </c:pt>
                <c:pt idx="1655">
                  <c:v>96.995999999999995</c:v>
                </c:pt>
                <c:pt idx="1656">
                  <c:v>98.081999999999994</c:v>
                </c:pt>
                <c:pt idx="1657">
                  <c:v>97.358000000000004</c:v>
                </c:pt>
                <c:pt idx="1658">
                  <c:v>97.358000000000004</c:v>
                </c:pt>
                <c:pt idx="1659">
                  <c:v>95.186000000000007</c:v>
                </c:pt>
                <c:pt idx="1660">
                  <c:v>95.186000000000007</c:v>
                </c:pt>
                <c:pt idx="1661">
                  <c:v>95.186000000000007</c:v>
                </c:pt>
                <c:pt idx="1662">
                  <c:v>94.462000000000003</c:v>
                </c:pt>
                <c:pt idx="1663">
                  <c:v>95.186000000000007</c:v>
                </c:pt>
                <c:pt idx="1664">
                  <c:v>95.186000000000007</c:v>
                </c:pt>
                <c:pt idx="1665">
                  <c:v>94.462000000000003</c:v>
                </c:pt>
                <c:pt idx="1666">
                  <c:v>96.272000000000006</c:v>
                </c:pt>
                <c:pt idx="1667">
                  <c:v>96.272000000000006</c:v>
                </c:pt>
                <c:pt idx="1668">
                  <c:v>96.272000000000006</c:v>
                </c:pt>
                <c:pt idx="1669">
                  <c:v>97.358000000000004</c:v>
                </c:pt>
                <c:pt idx="1670">
                  <c:v>96.995999999999995</c:v>
                </c:pt>
                <c:pt idx="1671">
                  <c:v>97.72</c:v>
                </c:pt>
                <c:pt idx="1672">
                  <c:v>96.634</c:v>
                </c:pt>
                <c:pt idx="1673">
                  <c:v>95.548000000000002</c:v>
                </c:pt>
                <c:pt idx="1674">
                  <c:v>95.548000000000002</c:v>
                </c:pt>
                <c:pt idx="1675">
                  <c:v>95.548000000000002</c:v>
                </c:pt>
                <c:pt idx="1676">
                  <c:v>96.995999999999995</c:v>
                </c:pt>
                <c:pt idx="1677">
                  <c:v>94.823999999999998</c:v>
                </c:pt>
                <c:pt idx="1678">
                  <c:v>95.548000000000002</c:v>
                </c:pt>
                <c:pt idx="1679">
                  <c:v>95.548000000000002</c:v>
                </c:pt>
                <c:pt idx="1680">
                  <c:v>97.72</c:v>
                </c:pt>
                <c:pt idx="1681">
                  <c:v>97.72</c:v>
                </c:pt>
                <c:pt idx="1682">
                  <c:v>97.72</c:v>
                </c:pt>
                <c:pt idx="1683">
                  <c:v>96.634</c:v>
                </c:pt>
                <c:pt idx="1684">
                  <c:v>96.272000000000006</c:v>
                </c:pt>
                <c:pt idx="1685">
                  <c:v>97.358000000000004</c:v>
                </c:pt>
                <c:pt idx="1686">
                  <c:v>97.358000000000004</c:v>
                </c:pt>
                <c:pt idx="1687">
                  <c:v>96.981999999999999</c:v>
                </c:pt>
                <c:pt idx="1688">
                  <c:v>96.981999999999999</c:v>
                </c:pt>
                <c:pt idx="1689">
                  <c:v>96.981999999999999</c:v>
                </c:pt>
                <c:pt idx="1690">
                  <c:v>96.981999999999999</c:v>
                </c:pt>
                <c:pt idx="1691">
                  <c:v>96.981999999999999</c:v>
                </c:pt>
                <c:pt idx="1692">
                  <c:v>97.358000000000004</c:v>
                </c:pt>
                <c:pt idx="1693">
                  <c:v>98.11</c:v>
                </c:pt>
                <c:pt idx="1694">
                  <c:v>99.613</c:v>
                </c:pt>
                <c:pt idx="1695">
                  <c:v>99.613</c:v>
                </c:pt>
                <c:pt idx="1696">
                  <c:v>99.613</c:v>
                </c:pt>
                <c:pt idx="1697">
                  <c:v>100.741</c:v>
                </c:pt>
                <c:pt idx="1698">
                  <c:v>100.741</c:v>
                </c:pt>
                <c:pt idx="1699">
                  <c:v>101.117</c:v>
                </c:pt>
                <c:pt idx="1700">
                  <c:v>99.989000000000004</c:v>
                </c:pt>
                <c:pt idx="1701">
                  <c:v>100.36499999999999</c:v>
                </c:pt>
                <c:pt idx="1702">
                  <c:v>100.36499999999999</c:v>
                </c:pt>
                <c:pt idx="1703">
                  <c:v>100.36499999999999</c:v>
                </c:pt>
                <c:pt idx="1704">
                  <c:v>100.36499999999999</c:v>
                </c:pt>
                <c:pt idx="1705">
                  <c:v>99.989000000000004</c:v>
                </c:pt>
                <c:pt idx="1706">
                  <c:v>100.36499999999999</c:v>
                </c:pt>
                <c:pt idx="1707">
                  <c:v>99.989000000000004</c:v>
                </c:pt>
                <c:pt idx="1708">
                  <c:v>100.741</c:v>
                </c:pt>
                <c:pt idx="1709">
                  <c:v>100.741</c:v>
                </c:pt>
                <c:pt idx="1710">
                  <c:v>100.741</c:v>
                </c:pt>
                <c:pt idx="1711">
                  <c:v>100.36499999999999</c:v>
                </c:pt>
                <c:pt idx="1712">
                  <c:v>100.36499999999999</c:v>
                </c:pt>
                <c:pt idx="1713">
                  <c:v>101.49299999999999</c:v>
                </c:pt>
                <c:pt idx="1714">
                  <c:v>101.49299999999999</c:v>
                </c:pt>
                <c:pt idx="1715">
                  <c:v>101.869</c:v>
                </c:pt>
                <c:pt idx="1716">
                  <c:v>101.869</c:v>
                </c:pt>
                <c:pt idx="1717">
                  <c:v>101.869</c:v>
                </c:pt>
                <c:pt idx="1718">
                  <c:v>101.49299999999999</c:v>
                </c:pt>
                <c:pt idx="1719">
                  <c:v>102.244</c:v>
                </c:pt>
                <c:pt idx="1720">
                  <c:v>101.869</c:v>
                </c:pt>
                <c:pt idx="1721">
                  <c:v>101.49299999999999</c:v>
                </c:pt>
                <c:pt idx="1722">
                  <c:v>104.5</c:v>
                </c:pt>
                <c:pt idx="1723">
                  <c:v>104.5</c:v>
                </c:pt>
                <c:pt idx="1724">
                  <c:v>104.5</c:v>
                </c:pt>
                <c:pt idx="1725">
                  <c:v>105.252</c:v>
                </c:pt>
                <c:pt idx="1726">
                  <c:v>106.379</c:v>
                </c:pt>
                <c:pt idx="1727">
                  <c:v>107.50700000000001</c:v>
                </c:pt>
                <c:pt idx="1728">
                  <c:v>105.628</c:v>
                </c:pt>
                <c:pt idx="1729">
                  <c:v>103.748</c:v>
                </c:pt>
                <c:pt idx="1730">
                  <c:v>103.748</c:v>
                </c:pt>
                <c:pt idx="1731">
                  <c:v>103.748</c:v>
                </c:pt>
                <c:pt idx="1732">
                  <c:v>103.748</c:v>
                </c:pt>
                <c:pt idx="1733">
                  <c:v>105.628</c:v>
                </c:pt>
                <c:pt idx="1734">
                  <c:v>108.259</c:v>
                </c:pt>
                <c:pt idx="1735">
                  <c:v>109.762</c:v>
                </c:pt>
                <c:pt idx="1736">
                  <c:v>109.762</c:v>
                </c:pt>
                <c:pt idx="1737">
                  <c:v>109.762</c:v>
                </c:pt>
                <c:pt idx="1738">
                  <c:v>109.762</c:v>
                </c:pt>
                <c:pt idx="1739">
                  <c:v>111.26600000000001</c:v>
                </c:pt>
                <c:pt idx="1740">
                  <c:v>110.89</c:v>
                </c:pt>
                <c:pt idx="1741">
                  <c:v>110.514</c:v>
                </c:pt>
                <c:pt idx="1742">
                  <c:v>109.762</c:v>
                </c:pt>
                <c:pt idx="1743">
                  <c:v>110.89</c:v>
                </c:pt>
                <c:pt idx="1744">
                  <c:v>110.89</c:v>
                </c:pt>
                <c:pt idx="1745">
                  <c:v>110.89</c:v>
                </c:pt>
                <c:pt idx="1746">
                  <c:v>111.26600000000001</c:v>
                </c:pt>
                <c:pt idx="1747">
                  <c:v>113.521</c:v>
                </c:pt>
                <c:pt idx="1748">
                  <c:v>114.273</c:v>
                </c:pt>
                <c:pt idx="1749">
                  <c:v>114.273</c:v>
                </c:pt>
                <c:pt idx="1750">
                  <c:v>115.401</c:v>
                </c:pt>
                <c:pt idx="1751">
                  <c:v>115.401</c:v>
                </c:pt>
                <c:pt idx="1752">
                  <c:v>115.401</c:v>
                </c:pt>
                <c:pt idx="1753">
                  <c:v>115.02500000000001</c:v>
                </c:pt>
                <c:pt idx="1754">
                  <c:v>112.77</c:v>
                </c:pt>
                <c:pt idx="1755">
                  <c:v>112.77</c:v>
                </c:pt>
                <c:pt idx="1756">
                  <c:v>112.77</c:v>
                </c:pt>
                <c:pt idx="1757">
                  <c:v>113.146</c:v>
                </c:pt>
                <c:pt idx="1758">
                  <c:v>113.146</c:v>
                </c:pt>
                <c:pt idx="1759">
                  <c:v>113.146</c:v>
                </c:pt>
                <c:pt idx="1760">
                  <c:v>113.89700000000001</c:v>
                </c:pt>
                <c:pt idx="1761">
                  <c:v>113.89700000000001</c:v>
                </c:pt>
                <c:pt idx="1762">
                  <c:v>115.777</c:v>
                </c:pt>
                <c:pt idx="1763">
                  <c:v>118.032</c:v>
                </c:pt>
                <c:pt idx="1764">
                  <c:v>117.65600000000001</c:v>
                </c:pt>
                <c:pt idx="1765">
                  <c:v>117.65600000000001</c:v>
                </c:pt>
                <c:pt idx="1766">
                  <c:v>117.65600000000001</c:v>
                </c:pt>
                <c:pt idx="1767">
                  <c:v>120.288</c:v>
                </c:pt>
                <c:pt idx="1768">
                  <c:v>120.288</c:v>
                </c:pt>
                <c:pt idx="1769">
                  <c:v>116.905</c:v>
                </c:pt>
                <c:pt idx="1770">
                  <c:v>117.28</c:v>
                </c:pt>
                <c:pt idx="1771">
                  <c:v>117.28</c:v>
                </c:pt>
                <c:pt idx="1772">
                  <c:v>117.28</c:v>
                </c:pt>
                <c:pt idx="1773">
                  <c:v>117.28</c:v>
                </c:pt>
                <c:pt idx="1774">
                  <c:v>118.032</c:v>
                </c:pt>
                <c:pt idx="1775">
                  <c:v>118.032</c:v>
                </c:pt>
                <c:pt idx="1776">
                  <c:v>116.905</c:v>
                </c:pt>
                <c:pt idx="1777">
                  <c:v>119.16</c:v>
                </c:pt>
                <c:pt idx="1778">
                  <c:v>120.288</c:v>
                </c:pt>
                <c:pt idx="1779">
                  <c:v>120.288</c:v>
                </c:pt>
                <c:pt idx="1780">
                  <c:v>120.288</c:v>
                </c:pt>
                <c:pt idx="1781">
                  <c:v>121.039</c:v>
                </c:pt>
                <c:pt idx="1782">
                  <c:v>119.536</c:v>
                </c:pt>
                <c:pt idx="1783">
                  <c:v>120.288</c:v>
                </c:pt>
                <c:pt idx="1784">
                  <c:v>118.032</c:v>
                </c:pt>
                <c:pt idx="1785">
                  <c:v>119.536</c:v>
                </c:pt>
                <c:pt idx="1786">
                  <c:v>119.536</c:v>
                </c:pt>
                <c:pt idx="1787">
                  <c:v>119.536</c:v>
                </c:pt>
                <c:pt idx="1788">
                  <c:v>119.16</c:v>
                </c:pt>
                <c:pt idx="1789">
                  <c:v>118.408</c:v>
                </c:pt>
                <c:pt idx="1790">
                  <c:v>119.16</c:v>
                </c:pt>
                <c:pt idx="1791">
                  <c:v>119.16</c:v>
                </c:pt>
                <c:pt idx="1792">
                  <c:v>119.536</c:v>
                </c:pt>
                <c:pt idx="1793">
                  <c:v>119.536</c:v>
                </c:pt>
                <c:pt idx="1794">
                  <c:v>119.536</c:v>
                </c:pt>
                <c:pt idx="1795">
                  <c:v>118.032</c:v>
                </c:pt>
                <c:pt idx="1796">
                  <c:v>119.536</c:v>
                </c:pt>
                <c:pt idx="1797">
                  <c:v>118.032</c:v>
                </c:pt>
                <c:pt idx="1798">
                  <c:v>119.536</c:v>
                </c:pt>
                <c:pt idx="1799">
                  <c:v>118.78400000000001</c:v>
                </c:pt>
                <c:pt idx="1800">
                  <c:v>118.78400000000001</c:v>
                </c:pt>
                <c:pt idx="1801">
                  <c:v>118.78400000000001</c:v>
                </c:pt>
                <c:pt idx="1802">
                  <c:v>119.16</c:v>
                </c:pt>
                <c:pt idx="1803">
                  <c:v>118.032</c:v>
                </c:pt>
                <c:pt idx="1804">
                  <c:v>120.664</c:v>
                </c:pt>
                <c:pt idx="1805">
                  <c:v>122.919</c:v>
                </c:pt>
                <c:pt idx="1806">
                  <c:v>123.295</c:v>
                </c:pt>
                <c:pt idx="1807">
                  <c:v>123.295</c:v>
                </c:pt>
                <c:pt idx="1808">
                  <c:v>123.295</c:v>
                </c:pt>
                <c:pt idx="1809">
                  <c:v>122.54300000000001</c:v>
                </c:pt>
                <c:pt idx="1810">
                  <c:v>122.167</c:v>
                </c:pt>
                <c:pt idx="1811">
                  <c:v>123.67100000000001</c:v>
                </c:pt>
                <c:pt idx="1812">
                  <c:v>121.41500000000001</c:v>
                </c:pt>
                <c:pt idx="1813">
                  <c:v>121.039</c:v>
                </c:pt>
                <c:pt idx="1814">
                  <c:v>121.039</c:v>
                </c:pt>
                <c:pt idx="1815">
                  <c:v>121.039</c:v>
                </c:pt>
                <c:pt idx="1816">
                  <c:v>121.41500000000001</c:v>
                </c:pt>
                <c:pt idx="1817">
                  <c:v>119.91200000000001</c:v>
                </c:pt>
                <c:pt idx="1818">
                  <c:v>119.16</c:v>
                </c:pt>
                <c:pt idx="1819">
                  <c:v>120.664</c:v>
                </c:pt>
                <c:pt idx="1820">
                  <c:v>119.536</c:v>
                </c:pt>
                <c:pt idx="1821">
                  <c:v>119.536</c:v>
                </c:pt>
                <c:pt idx="1822">
                  <c:v>119.536</c:v>
                </c:pt>
                <c:pt idx="1823">
                  <c:v>118.78400000000001</c:v>
                </c:pt>
                <c:pt idx="1824">
                  <c:v>119.536</c:v>
                </c:pt>
                <c:pt idx="1825">
                  <c:v>119.536</c:v>
                </c:pt>
                <c:pt idx="1826">
                  <c:v>119.536</c:v>
                </c:pt>
                <c:pt idx="1827">
                  <c:v>118.78400000000001</c:v>
                </c:pt>
                <c:pt idx="1828">
                  <c:v>118.78400000000001</c:v>
                </c:pt>
                <c:pt idx="1829">
                  <c:v>118.78400000000001</c:v>
                </c:pt>
                <c:pt idx="1830">
                  <c:v>118.78400000000001</c:v>
                </c:pt>
                <c:pt idx="1831">
                  <c:v>117.65600000000001</c:v>
                </c:pt>
                <c:pt idx="1832">
                  <c:v>116.529</c:v>
                </c:pt>
                <c:pt idx="1833">
                  <c:v>115.02500000000001</c:v>
                </c:pt>
                <c:pt idx="1834">
                  <c:v>114.273</c:v>
                </c:pt>
                <c:pt idx="1835">
                  <c:v>114.273</c:v>
                </c:pt>
                <c:pt idx="1836">
                  <c:v>114.273</c:v>
                </c:pt>
                <c:pt idx="1837">
                  <c:v>115.401</c:v>
                </c:pt>
                <c:pt idx="1838">
                  <c:v>114.649</c:v>
                </c:pt>
                <c:pt idx="1839">
                  <c:v>109.011</c:v>
                </c:pt>
                <c:pt idx="1840">
                  <c:v>112.018</c:v>
                </c:pt>
                <c:pt idx="1841">
                  <c:v>113.89700000000001</c:v>
                </c:pt>
                <c:pt idx="1842">
                  <c:v>113.89700000000001</c:v>
                </c:pt>
                <c:pt idx="1843">
                  <c:v>113.89700000000001</c:v>
                </c:pt>
                <c:pt idx="1844">
                  <c:v>110.13800000000001</c:v>
                </c:pt>
                <c:pt idx="1845">
                  <c:v>112.018</c:v>
                </c:pt>
                <c:pt idx="1846">
                  <c:v>111.642</c:v>
                </c:pt>
                <c:pt idx="1847">
                  <c:v>109.387</c:v>
                </c:pt>
                <c:pt idx="1848">
                  <c:v>111.26600000000001</c:v>
                </c:pt>
                <c:pt idx="1849">
                  <c:v>111.26600000000001</c:v>
                </c:pt>
                <c:pt idx="1850">
                  <c:v>111.26600000000001</c:v>
                </c:pt>
                <c:pt idx="1851">
                  <c:v>110.514</c:v>
                </c:pt>
                <c:pt idx="1852">
                  <c:v>109.762</c:v>
                </c:pt>
                <c:pt idx="1853">
                  <c:v>111.26600000000001</c:v>
                </c:pt>
                <c:pt idx="1854">
                  <c:v>110.514</c:v>
                </c:pt>
                <c:pt idx="1855">
                  <c:v>110.89</c:v>
                </c:pt>
                <c:pt idx="1856">
                  <c:v>110.89</c:v>
                </c:pt>
                <c:pt idx="1857">
                  <c:v>110.89</c:v>
                </c:pt>
                <c:pt idx="1858">
                  <c:v>109.762</c:v>
                </c:pt>
                <c:pt idx="1859">
                  <c:v>110.514</c:v>
                </c:pt>
                <c:pt idx="1860">
                  <c:v>109.762</c:v>
                </c:pt>
                <c:pt idx="1861">
                  <c:v>111.26600000000001</c:v>
                </c:pt>
                <c:pt idx="1862">
                  <c:v>110.13800000000001</c:v>
                </c:pt>
                <c:pt idx="1863">
                  <c:v>110.13800000000001</c:v>
                </c:pt>
                <c:pt idx="1864">
                  <c:v>110.13800000000001</c:v>
                </c:pt>
                <c:pt idx="1865">
                  <c:v>110.514</c:v>
                </c:pt>
                <c:pt idx="1866">
                  <c:v>108.63500000000001</c:v>
                </c:pt>
                <c:pt idx="1867">
                  <c:v>111.26600000000001</c:v>
                </c:pt>
                <c:pt idx="1868">
                  <c:v>110.89</c:v>
                </c:pt>
                <c:pt idx="1869">
                  <c:v>110.514</c:v>
                </c:pt>
                <c:pt idx="1870">
                  <c:v>110.514</c:v>
                </c:pt>
                <c:pt idx="1871">
                  <c:v>110.514</c:v>
                </c:pt>
                <c:pt idx="1872">
                  <c:v>110.13800000000001</c:v>
                </c:pt>
                <c:pt idx="1873">
                  <c:v>112.77</c:v>
                </c:pt>
                <c:pt idx="1874">
                  <c:v>112.77</c:v>
                </c:pt>
                <c:pt idx="1875">
                  <c:v>112.77</c:v>
                </c:pt>
                <c:pt idx="1876">
                  <c:v>113.15300000000001</c:v>
                </c:pt>
                <c:pt idx="1877">
                  <c:v>113.15300000000001</c:v>
                </c:pt>
                <c:pt idx="1878">
                  <c:v>113.15300000000001</c:v>
                </c:pt>
                <c:pt idx="1879">
                  <c:v>113.53700000000001</c:v>
                </c:pt>
                <c:pt idx="1880">
                  <c:v>113.53700000000001</c:v>
                </c:pt>
                <c:pt idx="1881">
                  <c:v>113.92</c:v>
                </c:pt>
                <c:pt idx="1882">
                  <c:v>113.53700000000001</c:v>
                </c:pt>
                <c:pt idx="1883">
                  <c:v>113.53700000000001</c:v>
                </c:pt>
                <c:pt idx="1884">
                  <c:v>113.53700000000001</c:v>
                </c:pt>
                <c:pt idx="1885">
                  <c:v>113.53700000000001</c:v>
                </c:pt>
                <c:pt idx="1886">
                  <c:v>112.386</c:v>
                </c:pt>
                <c:pt idx="1887">
                  <c:v>112.386</c:v>
                </c:pt>
                <c:pt idx="1888">
                  <c:v>118.907</c:v>
                </c:pt>
                <c:pt idx="1889">
                  <c:v>122.742</c:v>
                </c:pt>
                <c:pt idx="1890">
                  <c:v>122.742</c:v>
                </c:pt>
                <c:pt idx="1891">
                  <c:v>122.742</c:v>
                </c:pt>
                <c:pt idx="1892">
                  <c:v>122.742</c:v>
                </c:pt>
                <c:pt idx="1893">
                  <c:v>121.208</c:v>
                </c:pt>
                <c:pt idx="1894">
                  <c:v>120.825</c:v>
                </c:pt>
                <c:pt idx="1895">
                  <c:v>120.441</c:v>
                </c:pt>
                <c:pt idx="1896">
                  <c:v>120.441</c:v>
                </c:pt>
                <c:pt idx="1897">
                  <c:v>120.441</c:v>
                </c:pt>
                <c:pt idx="1898">
                  <c:v>120.441</c:v>
                </c:pt>
                <c:pt idx="1899">
                  <c:v>120.441</c:v>
                </c:pt>
                <c:pt idx="1900">
                  <c:v>120.441</c:v>
                </c:pt>
                <c:pt idx="1901">
                  <c:v>120.825</c:v>
                </c:pt>
                <c:pt idx="1902">
                  <c:v>120.441</c:v>
                </c:pt>
                <c:pt idx="1903">
                  <c:v>117.756</c:v>
                </c:pt>
                <c:pt idx="1904">
                  <c:v>116.605</c:v>
                </c:pt>
                <c:pt idx="1905">
                  <c:v>116.605</c:v>
                </c:pt>
                <c:pt idx="1906">
                  <c:v>116.605</c:v>
                </c:pt>
                <c:pt idx="1907">
                  <c:v>116.989</c:v>
                </c:pt>
                <c:pt idx="1908">
                  <c:v>119.67400000000001</c:v>
                </c:pt>
                <c:pt idx="1909">
                  <c:v>120.441</c:v>
                </c:pt>
                <c:pt idx="1910">
                  <c:v>120.825</c:v>
                </c:pt>
                <c:pt idx="1911">
                  <c:v>118.907</c:v>
                </c:pt>
                <c:pt idx="1912">
                  <c:v>118.907</c:v>
                </c:pt>
                <c:pt idx="1913">
                  <c:v>118.907</c:v>
                </c:pt>
                <c:pt idx="1914">
                  <c:v>118.907</c:v>
                </c:pt>
                <c:pt idx="1915">
                  <c:v>118.907</c:v>
                </c:pt>
                <c:pt idx="1916">
                  <c:v>119.67400000000001</c:v>
                </c:pt>
                <c:pt idx="1917">
                  <c:v>118.523</c:v>
                </c:pt>
                <c:pt idx="1918">
                  <c:v>118.523</c:v>
                </c:pt>
                <c:pt idx="1919">
                  <c:v>118.523</c:v>
                </c:pt>
                <c:pt idx="1920">
                  <c:v>118.523</c:v>
                </c:pt>
                <c:pt idx="1921">
                  <c:v>118.14</c:v>
                </c:pt>
                <c:pt idx="1922">
                  <c:v>118.907</c:v>
                </c:pt>
                <c:pt idx="1923">
                  <c:v>119.29</c:v>
                </c:pt>
                <c:pt idx="1924">
                  <c:v>121.97499999999999</c:v>
                </c:pt>
                <c:pt idx="1925">
                  <c:v>122.742</c:v>
                </c:pt>
                <c:pt idx="1926">
                  <c:v>122.742</c:v>
                </c:pt>
                <c:pt idx="1927">
                  <c:v>122.742</c:v>
                </c:pt>
                <c:pt idx="1928">
                  <c:v>122.742</c:v>
                </c:pt>
                <c:pt idx="1929">
                  <c:v>121.208</c:v>
                </c:pt>
                <c:pt idx="1930">
                  <c:v>121.208</c:v>
                </c:pt>
                <c:pt idx="1931">
                  <c:v>121.592</c:v>
                </c:pt>
                <c:pt idx="1932">
                  <c:v>119.67400000000001</c:v>
                </c:pt>
                <c:pt idx="1933">
                  <c:v>119.67400000000001</c:v>
                </c:pt>
                <c:pt idx="1934">
                  <c:v>119.67400000000001</c:v>
                </c:pt>
                <c:pt idx="1935">
                  <c:v>119.29</c:v>
                </c:pt>
                <c:pt idx="1936">
                  <c:v>120.441</c:v>
                </c:pt>
                <c:pt idx="1937">
                  <c:v>119.67400000000001</c:v>
                </c:pt>
                <c:pt idx="1938">
                  <c:v>119.67400000000001</c:v>
                </c:pt>
                <c:pt idx="1939">
                  <c:v>118.523</c:v>
                </c:pt>
                <c:pt idx="1940">
                  <c:v>118.523</c:v>
                </c:pt>
                <c:pt idx="1941">
                  <c:v>118.523</c:v>
                </c:pt>
                <c:pt idx="1942">
                  <c:v>118.14</c:v>
                </c:pt>
                <c:pt idx="1943">
                  <c:v>116.605</c:v>
                </c:pt>
                <c:pt idx="1944">
                  <c:v>117.372</c:v>
                </c:pt>
                <c:pt idx="1945">
                  <c:v>117.756</c:v>
                </c:pt>
                <c:pt idx="1946">
                  <c:v>118.523</c:v>
                </c:pt>
                <c:pt idx="1947">
                  <c:v>118.523</c:v>
                </c:pt>
                <c:pt idx="1948">
                  <c:v>118.523</c:v>
                </c:pt>
                <c:pt idx="1949">
                  <c:v>117.372</c:v>
                </c:pt>
                <c:pt idx="1950">
                  <c:v>116.989</c:v>
                </c:pt>
                <c:pt idx="1951">
                  <c:v>116.605</c:v>
                </c:pt>
                <c:pt idx="1952">
                  <c:v>118.523</c:v>
                </c:pt>
                <c:pt idx="1953">
                  <c:v>118.907</c:v>
                </c:pt>
                <c:pt idx="1954">
                  <c:v>118.907</c:v>
                </c:pt>
                <c:pt idx="1955">
                  <c:v>118.907</c:v>
                </c:pt>
                <c:pt idx="1956">
                  <c:v>118.907</c:v>
                </c:pt>
                <c:pt idx="1957">
                  <c:v>118.907</c:v>
                </c:pt>
                <c:pt idx="1958">
                  <c:v>119.29</c:v>
                </c:pt>
                <c:pt idx="1959">
                  <c:v>118.907</c:v>
                </c:pt>
                <c:pt idx="1960">
                  <c:v>120.825</c:v>
                </c:pt>
                <c:pt idx="1961">
                  <c:v>120.825</c:v>
                </c:pt>
                <c:pt idx="1962">
                  <c:v>120.825</c:v>
                </c:pt>
                <c:pt idx="1963">
                  <c:v>120.825</c:v>
                </c:pt>
                <c:pt idx="1964">
                  <c:v>122.742</c:v>
                </c:pt>
                <c:pt idx="1965">
                  <c:v>121.208</c:v>
                </c:pt>
                <c:pt idx="1966">
                  <c:v>121.208</c:v>
                </c:pt>
                <c:pt idx="1967">
                  <c:v>121.592</c:v>
                </c:pt>
                <c:pt idx="1968">
                  <c:v>121.592</c:v>
                </c:pt>
                <c:pt idx="1969">
                  <c:v>121.592</c:v>
                </c:pt>
                <c:pt idx="1970">
                  <c:v>121.97499999999999</c:v>
                </c:pt>
                <c:pt idx="1971">
                  <c:v>122.742</c:v>
                </c:pt>
                <c:pt idx="1972">
                  <c:v>120.441</c:v>
                </c:pt>
                <c:pt idx="1973">
                  <c:v>121.592</c:v>
                </c:pt>
                <c:pt idx="1974">
                  <c:v>121.208</c:v>
                </c:pt>
                <c:pt idx="1975">
                  <c:v>121.208</c:v>
                </c:pt>
                <c:pt idx="1976">
                  <c:v>121.208</c:v>
                </c:pt>
                <c:pt idx="1977">
                  <c:v>122.35899999999999</c:v>
                </c:pt>
                <c:pt idx="1978">
                  <c:v>121.97499999999999</c:v>
                </c:pt>
                <c:pt idx="1979">
                  <c:v>122.35899999999999</c:v>
                </c:pt>
                <c:pt idx="1980">
                  <c:v>121.97499999999999</c:v>
                </c:pt>
                <c:pt idx="1981">
                  <c:v>122.742</c:v>
                </c:pt>
                <c:pt idx="1982">
                  <c:v>122.742</c:v>
                </c:pt>
                <c:pt idx="1983">
                  <c:v>122.742</c:v>
                </c:pt>
                <c:pt idx="1984">
                  <c:v>121.592</c:v>
                </c:pt>
                <c:pt idx="1985">
                  <c:v>122.742</c:v>
                </c:pt>
                <c:pt idx="1986">
                  <c:v>122.35899999999999</c:v>
                </c:pt>
                <c:pt idx="1987">
                  <c:v>121.208</c:v>
                </c:pt>
                <c:pt idx="1988">
                  <c:v>121.592</c:v>
                </c:pt>
                <c:pt idx="1989">
                  <c:v>121.592</c:v>
                </c:pt>
                <c:pt idx="1990">
                  <c:v>121.592</c:v>
                </c:pt>
                <c:pt idx="1991">
                  <c:v>121.97499999999999</c:v>
                </c:pt>
                <c:pt idx="1992">
                  <c:v>121.97499999999999</c:v>
                </c:pt>
                <c:pt idx="1993">
                  <c:v>121.97499999999999</c:v>
                </c:pt>
                <c:pt idx="1994">
                  <c:v>122.742</c:v>
                </c:pt>
                <c:pt idx="1995">
                  <c:v>122.742</c:v>
                </c:pt>
                <c:pt idx="1996">
                  <c:v>122.742</c:v>
                </c:pt>
                <c:pt idx="1997">
                  <c:v>122.742</c:v>
                </c:pt>
                <c:pt idx="1998">
                  <c:v>120.825</c:v>
                </c:pt>
                <c:pt idx="1999">
                  <c:v>121.208</c:v>
                </c:pt>
                <c:pt idx="2000">
                  <c:v>120.825</c:v>
                </c:pt>
                <c:pt idx="2001">
                  <c:v>120.825</c:v>
                </c:pt>
                <c:pt idx="2002">
                  <c:v>121.592</c:v>
                </c:pt>
                <c:pt idx="2003">
                  <c:v>121.592</c:v>
                </c:pt>
                <c:pt idx="2004">
                  <c:v>121.592</c:v>
                </c:pt>
                <c:pt idx="2005">
                  <c:v>118.907</c:v>
                </c:pt>
                <c:pt idx="2006">
                  <c:v>118.523</c:v>
                </c:pt>
                <c:pt idx="2007">
                  <c:v>118.14</c:v>
                </c:pt>
                <c:pt idx="2008">
                  <c:v>118.907</c:v>
                </c:pt>
                <c:pt idx="2009">
                  <c:v>117.756</c:v>
                </c:pt>
                <c:pt idx="2010">
                  <c:v>117.756</c:v>
                </c:pt>
                <c:pt idx="2011">
                  <c:v>117.756</c:v>
                </c:pt>
                <c:pt idx="2012">
                  <c:v>117.756</c:v>
                </c:pt>
                <c:pt idx="2013">
                  <c:v>118.907</c:v>
                </c:pt>
                <c:pt idx="2014">
                  <c:v>118.14</c:v>
                </c:pt>
                <c:pt idx="2015">
                  <c:v>118.14</c:v>
                </c:pt>
                <c:pt idx="2016">
                  <c:v>118.14</c:v>
                </c:pt>
                <c:pt idx="2017">
                  <c:v>118.14</c:v>
                </c:pt>
                <c:pt idx="2018">
                  <c:v>118.14</c:v>
                </c:pt>
                <c:pt idx="2019">
                  <c:v>117.372</c:v>
                </c:pt>
                <c:pt idx="2020">
                  <c:v>119.67400000000001</c:v>
                </c:pt>
                <c:pt idx="2021">
                  <c:v>119.29</c:v>
                </c:pt>
                <c:pt idx="2022">
                  <c:v>119.29</c:v>
                </c:pt>
                <c:pt idx="2023">
                  <c:v>119.29</c:v>
                </c:pt>
                <c:pt idx="2024">
                  <c:v>119.29</c:v>
                </c:pt>
                <c:pt idx="2025">
                  <c:v>119.29</c:v>
                </c:pt>
                <c:pt idx="2026">
                  <c:v>119.29</c:v>
                </c:pt>
                <c:pt idx="2027">
                  <c:v>117.756</c:v>
                </c:pt>
                <c:pt idx="2028">
                  <c:v>118.907</c:v>
                </c:pt>
                <c:pt idx="2029">
                  <c:v>119.67400000000001</c:v>
                </c:pt>
                <c:pt idx="2030">
                  <c:v>117.756</c:v>
                </c:pt>
                <c:pt idx="2031">
                  <c:v>117.756</c:v>
                </c:pt>
                <c:pt idx="2032">
                  <c:v>117.756</c:v>
                </c:pt>
                <c:pt idx="2033">
                  <c:v>118.907</c:v>
                </c:pt>
                <c:pt idx="2034">
                  <c:v>119.67400000000001</c:v>
                </c:pt>
                <c:pt idx="2035">
                  <c:v>118.907</c:v>
                </c:pt>
                <c:pt idx="2036">
                  <c:v>118.523</c:v>
                </c:pt>
                <c:pt idx="2037">
                  <c:v>117.372</c:v>
                </c:pt>
                <c:pt idx="2038">
                  <c:v>117.372</c:v>
                </c:pt>
                <c:pt idx="2039">
                  <c:v>117.372</c:v>
                </c:pt>
                <c:pt idx="2040">
                  <c:v>117.372</c:v>
                </c:pt>
                <c:pt idx="2041">
                  <c:v>116.989</c:v>
                </c:pt>
                <c:pt idx="2042">
                  <c:v>118.523</c:v>
                </c:pt>
                <c:pt idx="2043">
                  <c:v>122.742</c:v>
                </c:pt>
                <c:pt idx="2044">
                  <c:v>121.208</c:v>
                </c:pt>
                <c:pt idx="2045">
                  <c:v>121.208</c:v>
                </c:pt>
                <c:pt idx="2046">
                  <c:v>121.208</c:v>
                </c:pt>
                <c:pt idx="2047">
                  <c:v>121.208</c:v>
                </c:pt>
                <c:pt idx="2048">
                  <c:v>121.97499999999999</c:v>
                </c:pt>
                <c:pt idx="2049">
                  <c:v>121.592</c:v>
                </c:pt>
                <c:pt idx="2050">
                  <c:v>121.208</c:v>
                </c:pt>
                <c:pt idx="2051">
                  <c:v>123.51</c:v>
                </c:pt>
                <c:pt idx="2052">
                  <c:v>123.51</c:v>
                </c:pt>
                <c:pt idx="2053">
                  <c:v>123.51</c:v>
                </c:pt>
                <c:pt idx="2054">
                  <c:v>125.093</c:v>
                </c:pt>
                <c:pt idx="2055">
                  <c:v>125.489</c:v>
                </c:pt>
                <c:pt idx="2056">
                  <c:v>125.489</c:v>
                </c:pt>
                <c:pt idx="2057">
                  <c:v>123.905</c:v>
                </c:pt>
                <c:pt idx="2058">
                  <c:v>122.718</c:v>
                </c:pt>
                <c:pt idx="2059">
                  <c:v>122.718</c:v>
                </c:pt>
                <c:pt idx="2060">
                  <c:v>122.718</c:v>
                </c:pt>
                <c:pt idx="2061">
                  <c:v>122.718</c:v>
                </c:pt>
                <c:pt idx="2062">
                  <c:v>121.926</c:v>
                </c:pt>
                <c:pt idx="2063">
                  <c:v>124.301</c:v>
                </c:pt>
                <c:pt idx="2064">
                  <c:v>124.301</c:v>
                </c:pt>
                <c:pt idx="2065">
                  <c:v>123.905</c:v>
                </c:pt>
                <c:pt idx="2066">
                  <c:v>123.905</c:v>
                </c:pt>
                <c:pt idx="2067">
                  <c:v>123.905</c:v>
                </c:pt>
                <c:pt idx="2068">
                  <c:v>122.718</c:v>
                </c:pt>
                <c:pt idx="2069">
                  <c:v>122.718</c:v>
                </c:pt>
                <c:pt idx="2070">
                  <c:v>128.26</c:v>
                </c:pt>
                <c:pt idx="2071">
                  <c:v>127.072</c:v>
                </c:pt>
                <c:pt idx="2072">
                  <c:v>123.905</c:v>
                </c:pt>
                <c:pt idx="2073">
                  <c:v>123.905</c:v>
                </c:pt>
                <c:pt idx="2074">
                  <c:v>123.905</c:v>
                </c:pt>
                <c:pt idx="2075">
                  <c:v>123.905</c:v>
                </c:pt>
                <c:pt idx="2076">
                  <c:v>122.718</c:v>
                </c:pt>
                <c:pt idx="2077">
                  <c:v>122.322</c:v>
                </c:pt>
                <c:pt idx="2078">
                  <c:v>120.343</c:v>
                </c:pt>
                <c:pt idx="2079">
                  <c:v>118.759</c:v>
                </c:pt>
                <c:pt idx="2080">
                  <c:v>118.759</c:v>
                </c:pt>
                <c:pt idx="2081">
                  <c:v>118.759</c:v>
                </c:pt>
                <c:pt idx="2082">
                  <c:v>119.947</c:v>
                </c:pt>
                <c:pt idx="2083">
                  <c:v>117.572</c:v>
                </c:pt>
                <c:pt idx="2084">
                  <c:v>117.176</c:v>
                </c:pt>
                <c:pt idx="2085">
                  <c:v>118.363</c:v>
                </c:pt>
                <c:pt idx="2086">
                  <c:v>116.384</c:v>
                </c:pt>
                <c:pt idx="2087">
                  <c:v>116.384</c:v>
                </c:pt>
                <c:pt idx="2088">
                  <c:v>116.384</c:v>
                </c:pt>
                <c:pt idx="2089">
                  <c:v>117.967</c:v>
                </c:pt>
                <c:pt idx="2090">
                  <c:v>119.155</c:v>
                </c:pt>
                <c:pt idx="2091">
                  <c:v>118.759</c:v>
                </c:pt>
                <c:pt idx="2092">
                  <c:v>118.759</c:v>
                </c:pt>
                <c:pt idx="2093">
                  <c:v>117.967</c:v>
                </c:pt>
                <c:pt idx="2094">
                  <c:v>117.967</c:v>
                </c:pt>
                <c:pt idx="2095">
                  <c:v>117.967</c:v>
                </c:pt>
                <c:pt idx="2096">
                  <c:v>117.967</c:v>
                </c:pt>
                <c:pt idx="2097">
                  <c:v>117.967</c:v>
                </c:pt>
                <c:pt idx="2098">
                  <c:v>119.947</c:v>
                </c:pt>
                <c:pt idx="2099">
                  <c:v>119.551</c:v>
                </c:pt>
                <c:pt idx="2100">
                  <c:v>118.759</c:v>
                </c:pt>
                <c:pt idx="2101">
                  <c:v>118.759</c:v>
                </c:pt>
                <c:pt idx="2102">
                  <c:v>118.759</c:v>
                </c:pt>
                <c:pt idx="2103">
                  <c:v>118.759</c:v>
                </c:pt>
                <c:pt idx="2104">
                  <c:v>118.363</c:v>
                </c:pt>
                <c:pt idx="2105">
                  <c:v>119.551</c:v>
                </c:pt>
                <c:pt idx="2106">
                  <c:v>118.363</c:v>
                </c:pt>
                <c:pt idx="2107">
                  <c:v>118.759</c:v>
                </c:pt>
                <c:pt idx="2108">
                  <c:v>118.759</c:v>
                </c:pt>
                <c:pt idx="2109">
                  <c:v>118.759</c:v>
                </c:pt>
                <c:pt idx="2110">
                  <c:v>119.551</c:v>
                </c:pt>
                <c:pt idx="2111">
                  <c:v>118.363</c:v>
                </c:pt>
                <c:pt idx="2112">
                  <c:v>117.572</c:v>
                </c:pt>
                <c:pt idx="2113">
                  <c:v>118.363</c:v>
                </c:pt>
                <c:pt idx="2114">
                  <c:v>118.759</c:v>
                </c:pt>
                <c:pt idx="2115">
                  <c:v>118.759</c:v>
                </c:pt>
                <c:pt idx="2116">
                  <c:v>118.759</c:v>
                </c:pt>
                <c:pt idx="2117">
                  <c:v>120.343</c:v>
                </c:pt>
                <c:pt idx="2118">
                  <c:v>120.739</c:v>
                </c:pt>
                <c:pt idx="2119">
                  <c:v>119.551</c:v>
                </c:pt>
                <c:pt idx="2120">
                  <c:v>120.343</c:v>
                </c:pt>
                <c:pt idx="2121">
                  <c:v>119.947</c:v>
                </c:pt>
                <c:pt idx="2122">
                  <c:v>119.947</c:v>
                </c:pt>
                <c:pt idx="2123">
                  <c:v>119.947</c:v>
                </c:pt>
                <c:pt idx="2124">
                  <c:v>118.363</c:v>
                </c:pt>
                <c:pt idx="2125">
                  <c:v>116.78</c:v>
                </c:pt>
                <c:pt idx="2126">
                  <c:v>117.572</c:v>
                </c:pt>
                <c:pt idx="2127">
                  <c:v>117.967</c:v>
                </c:pt>
                <c:pt idx="2128">
                  <c:v>119.947</c:v>
                </c:pt>
                <c:pt idx="2129">
                  <c:v>119.947</c:v>
                </c:pt>
                <c:pt idx="2130">
                  <c:v>119.947</c:v>
                </c:pt>
                <c:pt idx="2131">
                  <c:v>118.363</c:v>
                </c:pt>
                <c:pt idx="2132">
                  <c:v>118.759</c:v>
                </c:pt>
                <c:pt idx="2133">
                  <c:v>117.967</c:v>
                </c:pt>
                <c:pt idx="2134">
                  <c:v>119.155</c:v>
                </c:pt>
                <c:pt idx="2135">
                  <c:v>118.759</c:v>
                </c:pt>
                <c:pt idx="2136">
                  <c:v>118.759</c:v>
                </c:pt>
                <c:pt idx="2137">
                  <c:v>118.759</c:v>
                </c:pt>
                <c:pt idx="2138">
                  <c:v>117.176</c:v>
                </c:pt>
                <c:pt idx="2139">
                  <c:v>116.78</c:v>
                </c:pt>
                <c:pt idx="2140">
                  <c:v>116.78</c:v>
                </c:pt>
                <c:pt idx="2141">
                  <c:v>117.572</c:v>
                </c:pt>
                <c:pt idx="2142">
                  <c:v>116.78</c:v>
                </c:pt>
                <c:pt idx="2143">
                  <c:v>116.78</c:v>
                </c:pt>
                <c:pt idx="2144">
                  <c:v>116.78</c:v>
                </c:pt>
                <c:pt idx="2145">
                  <c:v>118.759</c:v>
                </c:pt>
                <c:pt idx="2146">
                  <c:v>116.384</c:v>
                </c:pt>
                <c:pt idx="2147">
                  <c:v>118.363</c:v>
                </c:pt>
                <c:pt idx="2148">
                  <c:v>117.176</c:v>
                </c:pt>
                <c:pt idx="2149">
                  <c:v>118.363</c:v>
                </c:pt>
                <c:pt idx="2150">
                  <c:v>118.363</c:v>
                </c:pt>
                <c:pt idx="2151">
                  <c:v>118.363</c:v>
                </c:pt>
                <c:pt idx="2152">
                  <c:v>117.176</c:v>
                </c:pt>
                <c:pt idx="2153">
                  <c:v>118.759</c:v>
                </c:pt>
                <c:pt idx="2154">
                  <c:v>117.572</c:v>
                </c:pt>
                <c:pt idx="2155">
                  <c:v>116.384</c:v>
                </c:pt>
                <c:pt idx="2156">
                  <c:v>117.572</c:v>
                </c:pt>
                <c:pt idx="2157">
                  <c:v>117.572</c:v>
                </c:pt>
                <c:pt idx="2158">
                  <c:v>117.572</c:v>
                </c:pt>
                <c:pt idx="2159">
                  <c:v>117.572</c:v>
                </c:pt>
                <c:pt idx="2160">
                  <c:v>116.78</c:v>
                </c:pt>
                <c:pt idx="2161">
                  <c:v>115.592</c:v>
                </c:pt>
                <c:pt idx="2162">
                  <c:v>115.196</c:v>
                </c:pt>
                <c:pt idx="2163">
                  <c:v>116.384</c:v>
                </c:pt>
                <c:pt idx="2164">
                  <c:v>116.384</c:v>
                </c:pt>
                <c:pt idx="2165">
                  <c:v>116.384</c:v>
                </c:pt>
                <c:pt idx="2166">
                  <c:v>117.176</c:v>
                </c:pt>
                <c:pt idx="2167">
                  <c:v>114.801</c:v>
                </c:pt>
                <c:pt idx="2168">
                  <c:v>114.009</c:v>
                </c:pt>
                <c:pt idx="2169">
                  <c:v>114.009</c:v>
                </c:pt>
                <c:pt idx="2170">
                  <c:v>112.821</c:v>
                </c:pt>
                <c:pt idx="2171">
                  <c:v>112.821</c:v>
                </c:pt>
                <c:pt idx="2172">
                  <c:v>112.821</c:v>
                </c:pt>
                <c:pt idx="2173">
                  <c:v>109.654</c:v>
                </c:pt>
                <c:pt idx="2174">
                  <c:v>110.05</c:v>
                </c:pt>
                <c:pt idx="2175">
                  <c:v>109.654</c:v>
                </c:pt>
                <c:pt idx="2176">
                  <c:v>112.821</c:v>
                </c:pt>
                <c:pt idx="2177">
                  <c:v>114.009</c:v>
                </c:pt>
                <c:pt idx="2178">
                  <c:v>114.009</c:v>
                </c:pt>
                <c:pt idx="2179">
                  <c:v>114.009</c:v>
                </c:pt>
                <c:pt idx="2180">
                  <c:v>114.801</c:v>
                </c:pt>
                <c:pt idx="2181">
                  <c:v>114.801</c:v>
                </c:pt>
                <c:pt idx="2182">
                  <c:v>116.384</c:v>
                </c:pt>
                <c:pt idx="2183">
                  <c:v>113.613</c:v>
                </c:pt>
                <c:pt idx="2184">
                  <c:v>113.613</c:v>
                </c:pt>
                <c:pt idx="2185">
                  <c:v>113.613</c:v>
                </c:pt>
                <c:pt idx="2186">
                  <c:v>113.613</c:v>
                </c:pt>
                <c:pt idx="2187">
                  <c:v>114.405</c:v>
                </c:pt>
                <c:pt idx="2188">
                  <c:v>111.634</c:v>
                </c:pt>
                <c:pt idx="2189">
                  <c:v>115.592</c:v>
                </c:pt>
                <c:pt idx="2190">
                  <c:v>115.592</c:v>
                </c:pt>
                <c:pt idx="2191">
                  <c:v>115.196</c:v>
                </c:pt>
                <c:pt idx="2192">
                  <c:v>115.196</c:v>
                </c:pt>
                <c:pt idx="2193">
                  <c:v>115.196</c:v>
                </c:pt>
                <c:pt idx="2194">
                  <c:v>115.592</c:v>
                </c:pt>
                <c:pt idx="2195">
                  <c:v>115.196</c:v>
                </c:pt>
                <c:pt idx="2196">
                  <c:v>114.801</c:v>
                </c:pt>
                <c:pt idx="2197">
                  <c:v>115.592</c:v>
                </c:pt>
                <c:pt idx="2198">
                  <c:v>115.592</c:v>
                </c:pt>
                <c:pt idx="2199">
                  <c:v>115.592</c:v>
                </c:pt>
                <c:pt idx="2200">
                  <c:v>115.592</c:v>
                </c:pt>
                <c:pt idx="2201">
                  <c:v>115.196</c:v>
                </c:pt>
                <c:pt idx="2202">
                  <c:v>114.009</c:v>
                </c:pt>
                <c:pt idx="2203">
                  <c:v>115.592</c:v>
                </c:pt>
                <c:pt idx="2204">
                  <c:v>114.405</c:v>
                </c:pt>
                <c:pt idx="2205">
                  <c:v>113.217</c:v>
                </c:pt>
                <c:pt idx="2206">
                  <c:v>113.217</c:v>
                </c:pt>
                <c:pt idx="2207">
                  <c:v>113.217</c:v>
                </c:pt>
                <c:pt idx="2208">
                  <c:v>110.05</c:v>
                </c:pt>
                <c:pt idx="2209">
                  <c:v>111.238</c:v>
                </c:pt>
                <c:pt idx="2210">
                  <c:v>107.279</c:v>
                </c:pt>
                <c:pt idx="2211">
                  <c:v>104.904</c:v>
                </c:pt>
                <c:pt idx="2212">
                  <c:v>104.904</c:v>
                </c:pt>
                <c:pt idx="2213">
                  <c:v>104.904</c:v>
                </c:pt>
                <c:pt idx="2214">
                  <c:v>104.904</c:v>
                </c:pt>
                <c:pt idx="2215">
                  <c:v>103.321</c:v>
                </c:pt>
                <c:pt idx="2216">
                  <c:v>103.321</c:v>
                </c:pt>
                <c:pt idx="2217">
                  <c:v>101.34099999999999</c:v>
                </c:pt>
                <c:pt idx="2218">
                  <c:v>101.34099999999999</c:v>
                </c:pt>
                <c:pt idx="2219">
                  <c:v>104.11199999999999</c:v>
                </c:pt>
                <c:pt idx="2220">
                  <c:v>104.11199999999999</c:v>
                </c:pt>
                <c:pt idx="2221">
                  <c:v>104.11199999999999</c:v>
                </c:pt>
                <c:pt idx="2222">
                  <c:v>103.321</c:v>
                </c:pt>
                <c:pt idx="2223">
                  <c:v>100.54900000000001</c:v>
                </c:pt>
                <c:pt idx="2224">
                  <c:v>105.3</c:v>
                </c:pt>
                <c:pt idx="2225">
                  <c:v>104.11199999999999</c:v>
                </c:pt>
                <c:pt idx="2226">
                  <c:v>104.508</c:v>
                </c:pt>
                <c:pt idx="2227">
                  <c:v>104.508</c:v>
                </c:pt>
                <c:pt idx="2228">
                  <c:v>104.508</c:v>
                </c:pt>
                <c:pt idx="2229">
                  <c:v>103.71599999999999</c:v>
                </c:pt>
                <c:pt idx="2230">
                  <c:v>104.508</c:v>
                </c:pt>
                <c:pt idx="2231">
                  <c:v>104.11199999999999</c:v>
                </c:pt>
                <c:pt idx="2232">
                  <c:v>102.925</c:v>
                </c:pt>
                <c:pt idx="2233">
                  <c:v>102.529</c:v>
                </c:pt>
                <c:pt idx="2234">
                  <c:v>102.529</c:v>
                </c:pt>
                <c:pt idx="2235">
                  <c:v>102.529</c:v>
                </c:pt>
                <c:pt idx="2236">
                  <c:v>103.343</c:v>
                </c:pt>
                <c:pt idx="2237">
                  <c:v>101.715</c:v>
                </c:pt>
                <c:pt idx="2238">
                  <c:v>99.274000000000001</c:v>
                </c:pt>
                <c:pt idx="2239">
                  <c:v>100.901</c:v>
                </c:pt>
                <c:pt idx="2240">
                  <c:v>102.122</c:v>
                </c:pt>
                <c:pt idx="2241">
                  <c:v>102.122</c:v>
                </c:pt>
                <c:pt idx="2242">
                  <c:v>102.122</c:v>
                </c:pt>
                <c:pt idx="2243">
                  <c:v>102.122</c:v>
                </c:pt>
                <c:pt idx="2244">
                  <c:v>102.529</c:v>
                </c:pt>
                <c:pt idx="2245">
                  <c:v>104.15600000000001</c:v>
                </c:pt>
                <c:pt idx="2246">
                  <c:v>103.749</c:v>
                </c:pt>
                <c:pt idx="2247">
                  <c:v>103.343</c:v>
                </c:pt>
                <c:pt idx="2248">
                  <c:v>103.343</c:v>
                </c:pt>
                <c:pt idx="2249">
                  <c:v>103.343</c:v>
                </c:pt>
                <c:pt idx="2250">
                  <c:v>103.343</c:v>
                </c:pt>
                <c:pt idx="2251">
                  <c:v>102.93600000000001</c:v>
                </c:pt>
                <c:pt idx="2252">
                  <c:v>103.749</c:v>
                </c:pt>
                <c:pt idx="2253">
                  <c:v>102.122</c:v>
                </c:pt>
                <c:pt idx="2254">
                  <c:v>102.122</c:v>
                </c:pt>
                <c:pt idx="2255">
                  <c:v>102.122</c:v>
                </c:pt>
                <c:pt idx="2256">
                  <c:v>102.122</c:v>
                </c:pt>
                <c:pt idx="2257">
                  <c:v>103.343</c:v>
                </c:pt>
                <c:pt idx="2258">
                  <c:v>103.749</c:v>
                </c:pt>
                <c:pt idx="2259">
                  <c:v>103.749</c:v>
                </c:pt>
                <c:pt idx="2260">
                  <c:v>105.377</c:v>
                </c:pt>
                <c:pt idx="2261">
                  <c:v>107.411</c:v>
                </c:pt>
                <c:pt idx="2262">
                  <c:v>107.411</c:v>
                </c:pt>
                <c:pt idx="2263">
                  <c:v>107.411</c:v>
                </c:pt>
                <c:pt idx="2264">
                  <c:v>108.63200000000001</c:v>
                </c:pt>
                <c:pt idx="2265">
                  <c:v>107.818</c:v>
                </c:pt>
                <c:pt idx="2266">
                  <c:v>107.004</c:v>
                </c:pt>
                <c:pt idx="2267">
                  <c:v>107.004</c:v>
                </c:pt>
                <c:pt idx="2268">
                  <c:v>107.004</c:v>
                </c:pt>
                <c:pt idx="2269">
                  <c:v>107.004</c:v>
                </c:pt>
                <c:pt idx="2270">
                  <c:v>107.004</c:v>
                </c:pt>
                <c:pt idx="2271">
                  <c:v>106.59699999999999</c:v>
                </c:pt>
                <c:pt idx="2272">
                  <c:v>107.411</c:v>
                </c:pt>
                <c:pt idx="2273">
                  <c:v>107.004</c:v>
                </c:pt>
                <c:pt idx="2274">
                  <c:v>107.411</c:v>
                </c:pt>
                <c:pt idx="2275">
                  <c:v>106.191</c:v>
                </c:pt>
                <c:pt idx="2276">
                  <c:v>106.191</c:v>
                </c:pt>
                <c:pt idx="2277">
                  <c:v>106.191</c:v>
                </c:pt>
                <c:pt idx="2278">
                  <c:v>106.191</c:v>
                </c:pt>
                <c:pt idx="2279">
                  <c:v>106.191</c:v>
                </c:pt>
                <c:pt idx="2280">
                  <c:v>109.852</c:v>
                </c:pt>
                <c:pt idx="2281">
                  <c:v>109.039</c:v>
                </c:pt>
                <c:pt idx="2282">
                  <c:v>108.63200000000001</c:v>
                </c:pt>
                <c:pt idx="2283">
                  <c:v>108.63200000000001</c:v>
                </c:pt>
                <c:pt idx="2284">
                  <c:v>108.63200000000001</c:v>
                </c:pt>
                <c:pt idx="2285">
                  <c:v>108.63200000000001</c:v>
                </c:pt>
                <c:pt idx="2286">
                  <c:v>107.818</c:v>
                </c:pt>
                <c:pt idx="2287">
                  <c:v>107.411</c:v>
                </c:pt>
                <c:pt idx="2288">
                  <c:v>107.004</c:v>
                </c:pt>
                <c:pt idx="2289">
                  <c:v>109.44499999999999</c:v>
                </c:pt>
                <c:pt idx="2290">
                  <c:v>109.44499999999999</c:v>
                </c:pt>
                <c:pt idx="2291">
                  <c:v>109.44499999999999</c:v>
                </c:pt>
                <c:pt idx="2292">
                  <c:v>109.44499999999999</c:v>
                </c:pt>
                <c:pt idx="2293">
                  <c:v>108.63200000000001</c:v>
                </c:pt>
                <c:pt idx="2294">
                  <c:v>108.63200000000001</c:v>
                </c:pt>
                <c:pt idx="2295">
                  <c:v>107.004</c:v>
                </c:pt>
                <c:pt idx="2296">
                  <c:v>106.59699999999999</c:v>
                </c:pt>
                <c:pt idx="2297">
                  <c:v>106.59699999999999</c:v>
                </c:pt>
                <c:pt idx="2298">
                  <c:v>106.59699999999999</c:v>
                </c:pt>
                <c:pt idx="2299">
                  <c:v>108.22499999999999</c:v>
                </c:pt>
                <c:pt idx="2300">
                  <c:v>106.59699999999999</c:v>
                </c:pt>
                <c:pt idx="2301">
                  <c:v>107.004</c:v>
                </c:pt>
                <c:pt idx="2302">
                  <c:v>106.191</c:v>
                </c:pt>
                <c:pt idx="2303">
                  <c:v>106.191</c:v>
                </c:pt>
                <c:pt idx="2304">
                  <c:v>106.191</c:v>
                </c:pt>
                <c:pt idx="2305">
                  <c:v>106.191</c:v>
                </c:pt>
                <c:pt idx="2306">
                  <c:v>104.563</c:v>
                </c:pt>
                <c:pt idx="2307">
                  <c:v>105.377</c:v>
                </c:pt>
                <c:pt idx="2308">
                  <c:v>107.411</c:v>
                </c:pt>
                <c:pt idx="2309">
                  <c:v>106.59699999999999</c:v>
                </c:pt>
                <c:pt idx="2310">
                  <c:v>96.426000000000002</c:v>
                </c:pt>
                <c:pt idx="2311">
                  <c:v>96.426000000000002</c:v>
                </c:pt>
                <c:pt idx="2312">
                  <c:v>96.426000000000002</c:v>
                </c:pt>
                <c:pt idx="2313">
                  <c:v>102.529</c:v>
                </c:pt>
                <c:pt idx="2314">
                  <c:v>103.343</c:v>
                </c:pt>
                <c:pt idx="2315">
                  <c:v>101.30800000000001</c:v>
                </c:pt>
                <c:pt idx="2316">
                  <c:v>100.901</c:v>
                </c:pt>
                <c:pt idx="2317">
                  <c:v>101.30800000000001</c:v>
                </c:pt>
                <c:pt idx="2318">
                  <c:v>101.30800000000001</c:v>
                </c:pt>
                <c:pt idx="2319">
                  <c:v>101.30800000000001</c:v>
                </c:pt>
                <c:pt idx="2320">
                  <c:v>100.901</c:v>
                </c:pt>
                <c:pt idx="2321">
                  <c:v>99.274000000000001</c:v>
                </c:pt>
                <c:pt idx="2322">
                  <c:v>99.274000000000001</c:v>
                </c:pt>
                <c:pt idx="2323">
                  <c:v>100.494</c:v>
                </c:pt>
                <c:pt idx="2324">
                  <c:v>101.30800000000001</c:v>
                </c:pt>
                <c:pt idx="2325">
                  <c:v>101.30800000000001</c:v>
                </c:pt>
                <c:pt idx="2326">
                  <c:v>101.30800000000001</c:v>
                </c:pt>
                <c:pt idx="2327">
                  <c:v>102.122</c:v>
                </c:pt>
                <c:pt idx="2328">
                  <c:v>103.343</c:v>
                </c:pt>
                <c:pt idx="2329">
                  <c:v>104.15600000000001</c:v>
                </c:pt>
                <c:pt idx="2330">
                  <c:v>103.343</c:v>
                </c:pt>
                <c:pt idx="2331">
                  <c:v>101.30800000000001</c:v>
                </c:pt>
                <c:pt idx="2332">
                  <c:v>101.30800000000001</c:v>
                </c:pt>
                <c:pt idx="2333">
                  <c:v>101.30800000000001</c:v>
                </c:pt>
                <c:pt idx="2334">
                  <c:v>102.529</c:v>
                </c:pt>
                <c:pt idx="2335">
                  <c:v>104.563</c:v>
                </c:pt>
                <c:pt idx="2336">
                  <c:v>105.377</c:v>
                </c:pt>
                <c:pt idx="2337">
                  <c:v>106.59699999999999</c:v>
                </c:pt>
                <c:pt idx="2338">
                  <c:v>106.59699999999999</c:v>
                </c:pt>
                <c:pt idx="2339">
                  <c:v>106.59699999999999</c:v>
                </c:pt>
                <c:pt idx="2340">
                  <c:v>106.59699999999999</c:v>
                </c:pt>
                <c:pt idx="2341">
                  <c:v>107.004</c:v>
                </c:pt>
                <c:pt idx="2342">
                  <c:v>107.818</c:v>
                </c:pt>
                <c:pt idx="2343">
                  <c:v>107.411</c:v>
                </c:pt>
                <c:pt idx="2344">
                  <c:v>105.78400000000001</c:v>
                </c:pt>
                <c:pt idx="2345">
                  <c:v>103.749</c:v>
                </c:pt>
                <c:pt idx="2346">
                  <c:v>103.749</c:v>
                </c:pt>
                <c:pt idx="2347">
                  <c:v>103.749</c:v>
                </c:pt>
                <c:pt idx="2348">
                  <c:v>103.343</c:v>
                </c:pt>
                <c:pt idx="2349">
                  <c:v>102.93600000000001</c:v>
                </c:pt>
                <c:pt idx="2350">
                  <c:v>102.93600000000001</c:v>
                </c:pt>
                <c:pt idx="2351">
                  <c:v>103.343</c:v>
                </c:pt>
                <c:pt idx="2352">
                  <c:v>104.563</c:v>
                </c:pt>
                <c:pt idx="2353">
                  <c:v>104.563</c:v>
                </c:pt>
                <c:pt idx="2354">
                  <c:v>104.563</c:v>
                </c:pt>
                <c:pt idx="2355">
                  <c:v>105.377</c:v>
                </c:pt>
                <c:pt idx="2356">
                  <c:v>105.377</c:v>
                </c:pt>
                <c:pt idx="2357">
                  <c:v>108.22499999999999</c:v>
                </c:pt>
                <c:pt idx="2358">
                  <c:v>106.59699999999999</c:v>
                </c:pt>
                <c:pt idx="2359">
                  <c:v>104.97</c:v>
                </c:pt>
                <c:pt idx="2360">
                  <c:v>104.97</c:v>
                </c:pt>
                <c:pt idx="2361">
                  <c:v>104.97</c:v>
                </c:pt>
                <c:pt idx="2362">
                  <c:v>102.529</c:v>
                </c:pt>
                <c:pt idx="2363">
                  <c:v>103.343</c:v>
                </c:pt>
                <c:pt idx="2364">
                  <c:v>105.78400000000001</c:v>
                </c:pt>
                <c:pt idx="2365">
                  <c:v>103.749</c:v>
                </c:pt>
                <c:pt idx="2366">
                  <c:v>102.122</c:v>
                </c:pt>
                <c:pt idx="2367">
                  <c:v>102.122</c:v>
                </c:pt>
                <c:pt idx="2368">
                  <c:v>102.122</c:v>
                </c:pt>
                <c:pt idx="2369">
                  <c:v>102.122</c:v>
                </c:pt>
                <c:pt idx="2370">
                  <c:v>102.529</c:v>
                </c:pt>
                <c:pt idx="2371">
                  <c:v>103.749</c:v>
                </c:pt>
                <c:pt idx="2372">
                  <c:v>103.749</c:v>
                </c:pt>
                <c:pt idx="2373">
                  <c:v>103.749</c:v>
                </c:pt>
                <c:pt idx="2374">
                  <c:v>103.749</c:v>
                </c:pt>
                <c:pt idx="2375">
                  <c:v>103.749</c:v>
                </c:pt>
                <c:pt idx="2376">
                  <c:v>103.749</c:v>
                </c:pt>
                <c:pt idx="2377">
                  <c:v>101.30800000000001</c:v>
                </c:pt>
                <c:pt idx="2378">
                  <c:v>100.494</c:v>
                </c:pt>
                <c:pt idx="2379">
                  <c:v>100.08799999999999</c:v>
                </c:pt>
                <c:pt idx="2380">
                  <c:v>102.93600000000001</c:v>
                </c:pt>
                <c:pt idx="2381">
                  <c:v>102.93600000000001</c:v>
                </c:pt>
                <c:pt idx="2382">
                  <c:v>102.93600000000001</c:v>
                </c:pt>
                <c:pt idx="2383">
                  <c:v>102.529</c:v>
                </c:pt>
                <c:pt idx="2384">
                  <c:v>102.122</c:v>
                </c:pt>
                <c:pt idx="2385">
                  <c:v>102.122</c:v>
                </c:pt>
                <c:pt idx="2386">
                  <c:v>101.30800000000001</c:v>
                </c:pt>
                <c:pt idx="2387">
                  <c:v>102.529</c:v>
                </c:pt>
                <c:pt idx="2388">
                  <c:v>102.529</c:v>
                </c:pt>
                <c:pt idx="2389">
                  <c:v>102.529</c:v>
                </c:pt>
                <c:pt idx="2390">
                  <c:v>102.93600000000001</c:v>
                </c:pt>
                <c:pt idx="2391">
                  <c:v>102.529</c:v>
                </c:pt>
                <c:pt idx="2392">
                  <c:v>103.749</c:v>
                </c:pt>
                <c:pt idx="2393">
                  <c:v>104.15600000000001</c:v>
                </c:pt>
                <c:pt idx="2394">
                  <c:v>104.97</c:v>
                </c:pt>
                <c:pt idx="2395">
                  <c:v>104.97</c:v>
                </c:pt>
                <c:pt idx="2396">
                  <c:v>104.97</c:v>
                </c:pt>
                <c:pt idx="2397">
                  <c:v>104.563</c:v>
                </c:pt>
                <c:pt idx="2398">
                  <c:v>105.78400000000001</c:v>
                </c:pt>
                <c:pt idx="2399">
                  <c:v>104.15600000000001</c:v>
                </c:pt>
                <c:pt idx="2400">
                  <c:v>105.78400000000001</c:v>
                </c:pt>
                <c:pt idx="2401">
                  <c:v>105.78400000000001</c:v>
                </c:pt>
                <c:pt idx="2402">
                  <c:v>105.78400000000001</c:v>
                </c:pt>
                <c:pt idx="2403">
                  <c:v>105.78400000000001</c:v>
                </c:pt>
                <c:pt idx="2404">
                  <c:v>105.78400000000001</c:v>
                </c:pt>
                <c:pt idx="2405">
                  <c:v>105.78400000000001</c:v>
                </c:pt>
                <c:pt idx="2406">
                  <c:v>105.78400000000001</c:v>
                </c:pt>
                <c:pt idx="2407">
                  <c:v>105.377</c:v>
                </c:pt>
                <c:pt idx="2408">
                  <c:v>106.59699999999999</c:v>
                </c:pt>
                <c:pt idx="2409">
                  <c:v>106.59699999999999</c:v>
                </c:pt>
                <c:pt idx="2410">
                  <c:v>106.59699999999999</c:v>
                </c:pt>
                <c:pt idx="2411">
                  <c:v>105.78400000000001</c:v>
                </c:pt>
                <c:pt idx="2412">
                  <c:v>104.563</c:v>
                </c:pt>
                <c:pt idx="2413">
                  <c:v>108.22499999999999</c:v>
                </c:pt>
                <c:pt idx="2414">
                  <c:v>108.22499999999999</c:v>
                </c:pt>
                <c:pt idx="2415">
                  <c:v>108.22499999999999</c:v>
                </c:pt>
                <c:pt idx="2416">
                  <c:v>108.22499999999999</c:v>
                </c:pt>
                <c:pt idx="2417">
                  <c:v>108.22499999999999</c:v>
                </c:pt>
                <c:pt idx="2418">
                  <c:v>109.49299999999999</c:v>
                </c:pt>
                <c:pt idx="2419">
                  <c:v>110.339</c:v>
                </c:pt>
                <c:pt idx="2420">
                  <c:v>111.607</c:v>
                </c:pt>
                <c:pt idx="2421">
                  <c:v>111.607</c:v>
                </c:pt>
                <c:pt idx="2422">
                  <c:v>111.607</c:v>
                </c:pt>
                <c:pt idx="2423">
                  <c:v>111.607</c:v>
                </c:pt>
                <c:pt idx="2424">
                  <c:v>111.607</c:v>
                </c:pt>
                <c:pt idx="2425">
                  <c:v>111.607</c:v>
                </c:pt>
                <c:pt idx="2426">
                  <c:v>112.452</c:v>
                </c:pt>
                <c:pt idx="2427">
                  <c:v>114.989</c:v>
                </c:pt>
                <c:pt idx="2428">
                  <c:v>114.989</c:v>
                </c:pt>
                <c:pt idx="2429">
                  <c:v>114.566</c:v>
                </c:pt>
                <c:pt idx="2430">
                  <c:v>114.566</c:v>
                </c:pt>
                <c:pt idx="2431">
                  <c:v>114.566</c:v>
                </c:pt>
                <c:pt idx="2432">
                  <c:v>116.25700000000001</c:v>
                </c:pt>
                <c:pt idx="2433">
                  <c:v>115.41200000000001</c:v>
                </c:pt>
                <c:pt idx="2434">
                  <c:v>114.143</c:v>
                </c:pt>
                <c:pt idx="2435">
                  <c:v>109.49299999999999</c:v>
                </c:pt>
                <c:pt idx="2436">
                  <c:v>109.916</c:v>
                </c:pt>
                <c:pt idx="2437">
                  <c:v>109.916</c:v>
                </c:pt>
                <c:pt idx="2438">
                  <c:v>109.916</c:v>
                </c:pt>
                <c:pt idx="2439">
                  <c:v>110.761</c:v>
                </c:pt>
                <c:pt idx="2440">
                  <c:v>110.761</c:v>
                </c:pt>
                <c:pt idx="2441">
                  <c:v>110.761</c:v>
                </c:pt>
                <c:pt idx="2442">
                  <c:v>110.761</c:v>
                </c:pt>
                <c:pt idx="2443">
                  <c:v>109.07</c:v>
                </c:pt>
                <c:pt idx="2444">
                  <c:v>109.07</c:v>
                </c:pt>
                <c:pt idx="2445">
                  <c:v>109.07</c:v>
                </c:pt>
                <c:pt idx="2446">
                  <c:v>109.07</c:v>
                </c:pt>
                <c:pt idx="2447">
                  <c:v>109.916</c:v>
                </c:pt>
                <c:pt idx="2448">
                  <c:v>110.761</c:v>
                </c:pt>
                <c:pt idx="2449">
                  <c:v>111.607</c:v>
                </c:pt>
                <c:pt idx="2450">
                  <c:v>109.49299999999999</c:v>
                </c:pt>
                <c:pt idx="2451">
                  <c:v>109.49299999999999</c:v>
                </c:pt>
                <c:pt idx="2452">
                  <c:v>109.49299999999999</c:v>
                </c:pt>
                <c:pt idx="2453">
                  <c:v>110.761</c:v>
                </c:pt>
                <c:pt idx="2454">
                  <c:v>110.761</c:v>
                </c:pt>
                <c:pt idx="2455">
                  <c:v>111.184</c:v>
                </c:pt>
                <c:pt idx="2456">
                  <c:v>111.607</c:v>
                </c:pt>
                <c:pt idx="2457">
                  <c:v>110.339</c:v>
                </c:pt>
                <c:pt idx="2458">
                  <c:v>110.339</c:v>
                </c:pt>
                <c:pt idx="2459">
                  <c:v>110.339</c:v>
                </c:pt>
                <c:pt idx="2460">
                  <c:v>111.184</c:v>
                </c:pt>
                <c:pt idx="2461">
                  <c:v>109.49299999999999</c:v>
                </c:pt>
                <c:pt idx="2462">
                  <c:v>110.761</c:v>
                </c:pt>
                <c:pt idx="2463">
                  <c:v>111.184</c:v>
                </c:pt>
                <c:pt idx="2464">
                  <c:v>111.184</c:v>
                </c:pt>
                <c:pt idx="2465">
                  <c:v>111.184</c:v>
                </c:pt>
                <c:pt idx="2466">
                  <c:v>111.184</c:v>
                </c:pt>
                <c:pt idx="2467">
                  <c:v>111.607</c:v>
                </c:pt>
                <c:pt idx="2468">
                  <c:v>110.761</c:v>
                </c:pt>
                <c:pt idx="2469">
                  <c:v>110.339</c:v>
                </c:pt>
                <c:pt idx="2470">
                  <c:v>109.916</c:v>
                </c:pt>
                <c:pt idx="2471">
                  <c:v>111.184</c:v>
                </c:pt>
                <c:pt idx="2472">
                  <c:v>111.184</c:v>
                </c:pt>
                <c:pt idx="2473">
                  <c:v>111.184</c:v>
                </c:pt>
                <c:pt idx="2474">
                  <c:v>109.916</c:v>
                </c:pt>
                <c:pt idx="2475">
                  <c:v>111.607</c:v>
                </c:pt>
                <c:pt idx="2476">
                  <c:v>110.761</c:v>
                </c:pt>
                <c:pt idx="2477">
                  <c:v>111.184</c:v>
                </c:pt>
                <c:pt idx="2478">
                  <c:v>109.916</c:v>
                </c:pt>
                <c:pt idx="2479">
                  <c:v>109.916</c:v>
                </c:pt>
                <c:pt idx="2480">
                  <c:v>109.916</c:v>
                </c:pt>
                <c:pt idx="2481">
                  <c:v>109.49299999999999</c:v>
                </c:pt>
                <c:pt idx="2482">
                  <c:v>109.49299999999999</c:v>
                </c:pt>
                <c:pt idx="2483">
                  <c:v>109.07</c:v>
                </c:pt>
                <c:pt idx="2484">
                  <c:v>109.07</c:v>
                </c:pt>
                <c:pt idx="2485">
                  <c:v>108.22499999999999</c:v>
                </c:pt>
                <c:pt idx="2486">
                  <c:v>108.22499999999999</c:v>
                </c:pt>
                <c:pt idx="2487">
                  <c:v>108.22499999999999</c:v>
                </c:pt>
                <c:pt idx="2488">
                  <c:v>106.95699999999999</c:v>
                </c:pt>
                <c:pt idx="2489">
                  <c:v>104.843</c:v>
                </c:pt>
                <c:pt idx="2490">
                  <c:v>107.379</c:v>
                </c:pt>
                <c:pt idx="2491">
                  <c:v>106.53400000000001</c:v>
                </c:pt>
                <c:pt idx="2492">
                  <c:v>106.53400000000001</c:v>
                </c:pt>
                <c:pt idx="2493">
                  <c:v>106.53400000000001</c:v>
                </c:pt>
                <c:pt idx="2494">
                  <c:v>106.53400000000001</c:v>
                </c:pt>
                <c:pt idx="2495">
                  <c:v>108.648</c:v>
                </c:pt>
                <c:pt idx="2496">
                  <c:v>106.95699999999999</c:v>
                </c:pt>
                <c:pt idx="2497">
                  <c:v>106.95699999999999</c:v>
                </c:pt>
                <c:pt idx="2498">
                  <c:v>107.80200000000001</c:v>
                </c:pt>
                <c:pt idx="2499">
                  <c:v>108.22499999999999</c:v>
                </c:pt>
                <c:pt idx="2500">
                  <c:v>108.22499999999999</c:v>
                </c:pt>
                <c:pt idx="2501">
                  <c:v>108.22499999999999</c:v>
                </c:pt>
                <c:pt idx="2502">
                  <c:v>106.95699999999999</c:v>
                </c:pt>
                <c:pt idx="2503">
                  <c:v>105.688</c:v>
                </c:pt>
                <c:pt idx="2504">
                  <c:v>104.42</c:v>
                </c:pt>
                <c:pt idx="2505">
                  <c:v>104.843</c:v>
                </c:pt>
                <c:pt idx="2506">
                  <c:v>103.575</c:v>
                </c:pt>
                <c:pt idx="2507">
                  <c:v>103.575</c:v>
                </c:pt>
                <c:pt idx="2508">
                  <c:v>103.575</c:v>
                </c:pt>
                <c:pt idx="2509">
                  <c:v>103.575</c:v>
                </c:pt>
                <c:pt idx="2510">
                  <c:v>103.152</c:v>
                </c:pt>
                <c:pt idx="2511">
                  <c:v>102.729</c:v>
                </c:pt>
                <c:pt idx="2512">
                  <c:v>102.306</c:v>
                </c:pt>
                <c:pt idx="2513">
                  <c:v>105.688</c:v>
                </c:pt>
                <c:pt idx="2514">
                  <c:v>105.688</c:v>
                </c:pt>
                <c:pt idx="2515">
                  <c:v>105.688</c:v>
                </c:pt>
                <c:pt idx="2516">
                  <c:v>105.688</c:v>
                </c:pt>
                <c:pt idx="2517">
                  <c:v>105.26600000000001</c:v>
                </c:pt>
                <c:pt idx="2518">
                  <c:v>107.80200000000001</c:v>
                </c:pt>
                <c:pt idx="2519">
                  <c:v>107.379</c:v>
                </c:pt>
                <c:pt idx="2520">
                  <c:v>108.22499999999999</c:v>
                </c:pt>
                <c:pt idx="2521">
                  <c:v>108.22499999999999</c:v>
                </c:pt>
                <c:pt idx="2522">
                  <c:v>108.22499999999999</c:v>
                </c:pt>
                <c:pt idx="2523">
                  <c:v>107.379</c:v>
                </c:pt>
                <c:pt idx="2524">
                  <c:v>108.22499999999999</c:v>
                </c:pt>
                <c:pt idx="2525">
                  <c:v>109.07</c:v>
                </c:pt>
                <c:pt idx="2526">
                  <c:v>108.648</c:v>
                </c:pt>
                <c:pt idx="2527">
                  <c:v>108.22499999999999</c:v>
                </c:pt>
                <c:pt idx="2528">
                  <c:v>108.22499999999999</c:v>
                </c:pt>
                <c:pt idx="2529">
                  <c:v>108.22499999999999</c:v>
                </c:pt>
                <c:pt idx="2530">
                  <c:v>108.22499999999999</c:v>
                </c:pt>
                <c:pt idx="2531">
                  <c:v>107.80200000000001</c:v>
                </c:pt>
                <c:pt idx="2532">
                  <c:v>106.53400000000001</c:v>
                </c:pt>
                <c:pt idx="2533">
                  <c:v>107.379</c:v>
                </c:pt>
                <c:pt idx="2534">
                  <c:v>106.95699999999999</c:v>
                </c:pt>
                <c:pt idx="2535">
                  <c:v>106.95699999999999</c:v>
                </c:pt>
                <c:pt idx="2536">
                  <c:v>106.95699999999999</c:v>
                </c:pt>
                <c:pt idx="2537">
                  <c:v>107.379</c:v>
                </c:pt>
                <c:pt idx="2538">
                  <c:v>107.379</c:v>
                </c:pt>
                <c:pt idx="2539">
                  <c:v>107.80200000000001</c:v>
                </c:pt>
                <c:pt idx="2540">
                  <c:v>107.379</c:v>
                </c:pt>
                <c:pt idx="2541">
                  <c:v>107.80200000000001</c:v>
                </c:pt>
                <c:pt idx="2542">
                  <c:v>107.80200000000001</c:v>
                </c:pt>
                <c:pt idx="2543">
                  <c:v>107.80200000000001</c:v>
                </c:pt>
                <c:pt idx="2544">
                  <c:v>108.22499999999999</c:v>
                </c:pt>
                <c:pt idx="2545">
                  <c:v>108.22499999999999</c:v>
                </c:pt>
                <c:pt idx="2546">
                  <c:v>108.648</c:v>
                </c:pt>
                <c:pt idx="2547">
                  <c:v>108.22499999999999</c:v>
                </c:pt>
                <c:pt idx="2548">
                  <c:v>109.916</c:v>
                </c:pt>
                <c:pt idx="2549">
                  <c:v>109.916</c:v>
                </c:pt>
                <c:pt idx="2550">
                  <c:v>109.916</c:v>
                </c:pt>
                <c:pt idx="2551">
                  <c:v>110.761</c:v>
                </c:pt>
                <c:pt idx="2552">
                  <c:v>110.761</c:v>
                </c:pt>
                <c:pt idx="2553">
                  <c:v>109.916</c:v>
                </c:pt>
                <c:pt idx="2554">
                  <c:v>110.339</c:v>
                </c:pt>
                <c:pt idx="2555">
                  <c:v>110.339</c:v>
                </c:pt>
                <c:pt idx="2556">
                  <c:v>110.339</c:v>
                </c:pt>
                <c:pt idx="2557">
                  <c:v>110.339</c:v>
                </c:pt>
                <c:pt idx="2558">
                  <c:v>110.339</c:v>
                </c:pt>
                <c:pt idx="2559">
                  <c:v>110.761</c:v>
                </c:pt>
                <c:pt idx="2560">
                  <c:v>110.761</c:v>
                </c:pt>
                <c:pt idx="2561">
                  <c:v>109.916</c:v>
                </c:pt>
                <c:pt idx="2562">
                  <c:v>109.916</c:v>
                </c:pt>
                <c:pt idx="2563">
                  <c:v>109.916</c:v>
                </c:pt>
                <c:pt idx="2564">
                  <c:v>109.916</c:v>
                </c:pt>
                <c:pt idx="2565">
                  <c:v>110.339</c:v>
                </c:pt>
                <c:pt idx="2566">
                  <c:v>111.184</c:v>
                </c:pt>
                <c:pt idx="2567">
                  <c:v>110.761</c:v>
                </c:pt>
                <c:pt idx="2568">
                  <c:v>109.07</c:v>
                </c:pt>
                <c:pt idx="2569">
                  <c:v>109.07</c:v>
                </c:pt>
                <c:pt idx="2570">
                  <c:v>109.07</c:v>
                </c:pt>
                <c:pt idx="2571">
                  <c:v>109.07</c:v>
                </c:pt>
                <c:pt idx="2572">
                  <c:v>109.49299999999999</c:v>
                </c:pt>
                <c:pt idx="2573">
                  <c:v>109.916</c:v>
                </c:pt>
                <c:pt idx="2574">
                  <c:v>110.761</c:v>
                </c:pt>
                <c:pt idx="2575">
                  <c:v>110.761</c:v>
                </c:pt>
                <c:pt idx="2576">
                  <c:v>110.761</c:v>
                </c:pt>
                <c:pt idx="2577">
                  <c:v>110.761</c:v>
                </c:pt>
                <c:pt idx="2578">
                  <c:v>110.761</c:v>
                </c:pt>
                <c:pt idx="2579">
                  <c:v>106.53400000000001</c:v>
                </c:pt>
                <c:pt idx="2580">
                  <c:v>104.843</c:v>
                </c:pt>
                <c:pt idx="2581">
                  <c:v>107.379</c:v>
                </c:pt>
                <c:pt idx="2582">
                  <c:v>109.916</c:v>
                </c:pt>
                <c:pt idx="2583">
                  <c:v>106.111</c:v>
                </c:pt>
                <c:pt idx="2584">
                  <c:v>106.111</c:v>
                </c:pt>
                <c:pt idx="2585">
                  <c:v>106.111</c:v>
                </c:pt>
                <c:pt idx="2586">
                  <c:v>107.379</c:v>
                </c:pt>
                <c:pt idx="2587">
                  <c:v>107.80200000000001</c:v>
                </c:pt>
                <c:pt idx="2588">
                  <c:v>107.80200000000001</c:v>
                </c:pt>
                <c:pt idx="2589">
                  <c:v>107.379</c:v>
                </c:pt>
                <c:pt idx="2590">
                  <c:v>107.80200000000001</c:v>
                </c:pt>
                <c:pt idx="2591">
                  <c:v>107.80200000000001</c:v>
                </c:pt>
                <c:pt idx="2592">
                  <c:v>107.80200000000001</c:v>
                </c:pt>
                <c:pt idx="2593">
                  <c:v>107.80200000000001</c:v>
                </c:pt>
                <c:pt idx="2594">
                  <c:v>108.22499999999999</c:v>
                </c:pt>
                <c:pt idx="2595">
                  <c:v>107.80200000000001</c:v>
                </c:pt>
                <c:pt idx="2596">
                  <c:v>107.80200000000001</c:v>
                </c:pt>
                <c:pt idx="2597">
                  <c:v>109.49299999999999</c:v>
                </c:pt>
                <c:pt idx="2598">
                  <c:v>109.49299999999999</c:v>
                </c:pt>
                <c:pt idx="2599">
                  <c:v>109.49299999999999</c:v>
                </c:pt>
                <c:pt idx="2600">
                  <c:v>110.797</c:v>
                </c:pt>
                <c:pt idx="2601">
                  <c:v>110.36199999999999</c:v>
                </c:pt>
                <c:pt idx="2602">
                  <c:v>109.059</c:v>
                </c:pt>
                <c:pt idx="2603">
                  <c:v>110.36199999999999</c:v>
                </c:pt>
                <c:pt idx="2604">
                  <c:v>110.36199999999999</c:v>
                </c:pt>
                <c:pt idx="2605">
                  <c:v>110.36199999999999</c:v>
                </c:pt>
                <c:pt idx="2606">
                  <c:v>110.36199999999999</c:v>
                </c:pt>
                <c:pt idx="2607">
                  <c:v>111.23099999999999</c:v>
                </c:pt>
                <c:pt idx="2608">
                  <c:v>110.797</c:v>
                </c:pt>
                <c:pt idx="2609">
                  <c:v>110.797</c:v>
                </c:pt>
                <c:pt idx="2610">
                  <c:v>110.797</c:v>
                </c:pt>
                <c:pt idx="2611">
                  <c:v>111.23099999999999</c:v>
                </c:pt>
                <c:pt idx="2612">
                  <c:v>111.23099999999999</c:v>
                </c:pt>
                <c:pt idx="2613">
                  <c:v>111.23099999999999</c:v>
                </c:pt>
                <c:pt idx="2614">
                  <c:v>111.666</c:v>
                </c:pt>
                <c:pt idx="2615">
                  <c:v>112.96899999999999</c:v>
                </c:pt>
                <c:pt idx="2616">
                  <c:v>112.96899999999999</c:v>
                </c:pt>
                <c:pt idx="2617">
                  <c:v>115.57599999999999</c:v>
                </c:pt>
                <c:pt idx="2618">
                  <c:v>123.39700000000001</c:v>
                </c:pt>
                <c:pt idx="2619">
                  <c:v>123.39700000000001</c:v>
                </c:pt>
                <c:pt idx="2620">
                  <c:v>123.39700000000001</c:v>
                </c:pt>
                <c:pt idx="2621">
                  <c:v>120.79</c:v>
                </c:pt>
                <c:pt idx="2622">
                  <c:v>120.355</c:v>
                </c:pt>
                <c:pt idx="2623">
                  <c:v>119.48699999999999</c:v>
                </c:pt>
                <c:pt idx="2624">
                  <c:v>117.31399999999999</c:v>
                </c:pt>
                <c:pt idx="2625">
                  <c:v>119.05200000000001</c:v>
                </c:pt>
                <c:pt idx="2626">
                  <c:v>119.05200000000001</c:v>
                </c:pt>
                <c:pt idx="2627">
                  <c:v>119.05200000000001</c:v>
                </c:pt>
                <c:pt idx="2628">
                  <c:v>116.88</c:v>
                </c:pt>
                <c:pt idx="2629">
                  <c:v>116.44499999999999</c:v>
                </c:pt>
                <c:pt idx="2630">
                  <c:v>117.749</c:v>
                </c:pt>
                <c:pt idx="2631">
                  <c:v>118.18300000000001</c:v>
                </c:pt>
                <c:pt idx="2632">
                  <c:v>116.88</c:v>
                </c:pt>
                <c:pt idx="2633">
                  <c:v>116.88</c:v>
                </c:pt>
                <c:pt idx="2634">
                  <c:v>116.88</c:v>
                </c:pt>
                <c:pt idx="2635">
                  <c:v>115.57599999999999</c:v>
                </c:pt>
                <c:pt idx="2636">
                  <c:v>112.96899999999999</c:v>
                </c:pt>
                <c:pt idx="2637">
                  <c:v>113.404</c:v>
                </c:pt>
                <c:pt idx="2638">
                  <c:v>112.1</c:v>
                </c:pt>
                <c:pt idx="2639">
                  <c:v>112.96899999999999</c:v>
                </c:pt>
                <c:pt idx="2640">
                  <c:v>112.96899999999999</c:v>
                </c:pt>
                <c:pt idx="2641">
                  <c:v>112.96899999999999</c:v>
                </c:pt>
                <c:pt idx="2642">
                  <c:v>112.96899999999999</c:v>
                </c:pt>
                <c:pt idx="2643">
                  <c:v>112.96899999999999</c:v>
                </c:pt>
                <c:pt idx="2644">
                  <c:v>112.96899999999999</c:v>
                </c:pt>
                <c:pt idx="2645">
                  <c:v>115.57599999999999</c:v>
                </c:pt>
                <c:pt idx="2646">
                  <c:v>114.70699999999999</c:v>
                </c:pt>
                <c:pt idx="2647">
                  <c:v>114.70699999999999</c:v>
                </c:pt>
                <c:pt idx="2648">
                  <c:v>114.70699999999999</c:v>
                </c:pt>
                <c:pt idx="2649">
                  <c:v>114.70699999999999</c:v>
                </c:pt>
                <c:pt idx="2650">
                  <c:v>114.70699999999999</c:v>
                </c:pt>
                <c:pt idx="2651">
                  <c:v>117.749</c:v>
                </c:pt>
                <c:pt idx="2652">
                  <c:v>119.48699999999999</c:v>
                </c:pt>
                <c:pt idx="2653">
                  <c:v>118.18300000000001</c:v>
                </c:pt>
                <c:pt idx="2654">
                  <c:v>118.18300000000001</c:v>
                </c:pt>
                <c:pt idx="2655">
                  <c:v>118.18300000000001</c:v>
                </c:pt>
                <c:pt idx="2656">
                  <c:v>117.749</c:v>
                </c:pt>
                <c:pt idx="2657">
                  <c:v>118.61799999999999</c:v>
                </c:pt>
                <c:pt idx="2658">
                  <c:v>119.92100000000001</c:v>
                </c:pt>
                <c:pt idx="2659">
                  <c:v>119.92100000000001</c:v>
                </c:pt>
                <c:pt idx="2660">
                  <c:v>120.79</c:v>
                </c:pt>
                <c:pt idx="2661">
                  <c:v>120.79</c:v>
                </c:pt>
                <c:pt idx="2662">
                  <c:v>120.79</c:v>
                </c:pt>
                <c:pt idx="2663">
                  <c:v>120.355</c:v>
                </c:pt>
                <c:pt idx="2664">
                  <c:v>119.05200000000001</c:v>
                </c:pt>
                <c:pt idx="2665">
                  <c:v>118.61799999999999</c:v>
                </c:pt>
                <c:pt idx="2666">
                  <c:v>119.05200000000001</c:v>
                </c:pt>
                <c:pt idx="2667">
                  <c:v>119.05200000000001</c:v>
                </c:pt>
                <c:pt idx="2668">
                  <c:v>119.05200000000001</c:v>
                </c:pt>
                <c:pt idx="2669">
                  <c:v>119.05200000000001</c:v>
                </c:pt>
                <c:pt idx="2670">
                  <c:v>119.05200000000001</c:v>
                </c:pt>
                <c:pt idx="2671">
                  <c:v>119.92100000000001</c:v>
                </c:pt>
                <c:pt idx="2672">
                  <c:v>119.48699999999999</c:v>
                </c:pt>
                <c:pt idx="2673">
                  <c:v>119.48699999999999</c:v>
                </c:pt>
                <c:pt idx="2674">
                  <c:v>119.92100000000001</c:v>
                </c:pt>
                <c:pt idx="2675">
                  <c:v>119.92100000000001</c:v>
                </c:pt>
                <c:pt idx="2676">
                  <c:v>119.92100000000001</c:v>
                </c:pt>
                <c:pt idx="2677">
                  <c:v>120.79</c:v>
                </c:pt>
                <c:pt idx="2678">
                  <c:v>119.92100000000001</c:v>
                </c:pt>
                <c:pt idx="2679">
                  <c:v>121.65900000000001</c:v>
                </c:pt>
                <c:pt idx="2680">
                  <c:v>120.355</c:v>
                </c:pt>
                <c:pt idx="2681">
                  <c:v>121.65900000000001</c:v>
                </c:pt>
                <c:pt idx="2682">
                  <c:v>121.65900000000001</c:v>
                </c:pt>
                <c:pt idx="2683">
                  <c:v>121.65900000000001</c:v>
                </c:pt>
                <c:pt idx="2684">
                  <c:v>121.65900000000001</c:v>
                </c:pt>
                <c:pt idx="2685">
                  <c:v>121.224</c:v>
                </c:pt>
                <c:pt idx="2686">
                  <c:v>121.65900000000001</c:v>
                </c:pt>
                <c:pt idx="2687">
                  <c:v>121.65900000000001</c:v>
                </c:pt>
                <c:pt idx="2688">
                  <c:v>121.65900000000001</c:v>
                </c:pt>
                <c:pt idx="2689">
                  <c:v>121.65900000000001</c:v>
                </c:pt>
                <c:pt idx="2690">
                  <c:v>121.65900000000001</c:v>
                </c:pt>
                <c:pt idx="2691">
                  <c:v>121.65900000000001</c:v>
                </c:pt>
                <c:pt idx="2692">
                  <c:v>122.52800000000001</c:v>
                </c:pt>
                <c:pt idx="2693">
                  <c:v>121.65900000000001</c:v>
                </c:pt>
                <c:pt idx="2694">
                  <c:v>124.7</c:v>
                </c:pt>
                <c:pt idx="2695">
                  <c:v>131.21799999999999</c:v>
                </c:pt>
                <c:pt idx="2696">
                  <c:v>131.21799999999999</c:v>
                </c:pt>
                <c:pt idx="2697">
                  <c:v>131.21799999999999</c:v>
                </c:pt>
                <c:pt idx="2698">
                  <c:v>130.78299999999999</c:v>
                </c:pt>
                <c:pt idx="2699">
                  <c:v>132.52099999999999</c:v>
                </c:pt>
                <c:pt idx="2700">
                  <c:v>132.95599999999999</c:v>
                </c:pt>
                <c:pt idx="2701">
                  <c:v>133.82499999999999</c:v>
                </c:pt>
                <c:pt idx="2702">
                  <c:v>133.82499999999999</c:v>
                </c:pt>
                <c:pt idx="2703">
                  <c:v>133.82499999999999</c:v>
                </c:pt>
                <c:pt idx="2704">
                  <c:v>133.82499999999999</c:v>
                </c:pt>
                <c:pt idx="2705">
                  <c:v>134.25899999999999</c:v>
                </c:pt>
                <c:pt idx="2706">
                  <c:v>132.95599999999999</c:v>
                </c:pt>
                <c:pt idx="2707">
                  <c:v>132.52099999999999</c:v>
                </c:pt>
                <c:pt idx="2708">
                  <c:v>132.95599999999999</c:v>
                </c:pt>
                <c:pt idx="2709">
                  <c:v>132.52099999999999</c:v>
                </c:pt>
                <c:pt idx="2710">
                  <c:v>132.52099999999999</c:v>
                </c:pt>
                <c:pt idx="2711">
                  <c:v>132.52099999999999</c:v>
                </c:pt>
                <c:pt idx="2712">
                  <c:v>134.69399999999999</c:v>
                </c:pt>
                <c:pt idx="2713">
                  <c:v>134.69399999999999</c:v>
                </c:pt>
                <c:pt idx="2714">
                  <c:v>135.56299999999999</c:v>
                </c:pt>
                <c:pt idx="2715">
                  <c:v>135.56299999999999</c:v>
                </c:pt>
                <c:pt idx="2716">
                  <c:v>134.69399999999999</c:v>
                </c:pt>
                <c:pt idx="2717">
                  <c:v>134.69399999999999</c:v>
                </c:pt>
                <c:pt idx="2718">
                  <c:v>134.69399999999999</c:v>
                </c:pt>
                <c:pt idx="2719">
                  <c:v>133.82499999999999</c:v>
                </c:pt>
                <c:pt idx="2720">
                  <c:v>134.25899999999999</c:v>
                </c:pt>
                <c:pt idx="2721">
                  <c:v>134.25899999999999</c:v>
                </c:pt>
                <c:pt idx="2722">
                  <c:v>133.38999999999999</c:v>
                </c:pt>
                <c:pt idx="2723">
                  <c:v>133.38999999999999</c:v>
                </c:pt>
                <c:pt idx="2724">
                  <c:v>133.38999999999999</c:v>
                </c:pt>
                <c:pt idx="2725">
                  <c:v>133.38999999999999</c:v>
                </c:pt>
                <c:pt idx="2726">
                  <c:v>133.38999999999999</c:v>
                </c:pt>
                <c:pt idx="2727">
                  <c:v>133.82499999999999</c:v>
                </c:pt>
                <c:pt idx="2728">
                  <c:v>133.38999999999999</c:v>
                </c:pt>
                <c:pt idx="2729">
                  <c:v>132.52099999999999</c:v>
                </c:pt>
                <c:pt idx="2730">
                  <c:v>132.08699999999999</c:v>
                </c:pt>
                <c:pt idx="2731">
                  <c:v>132.08699999999999</c:v>
                </c:pt>
                <c:pt idx="2732">
                  <c:v>132.08699999999999</c:v>
                </c:pt>
                <c:pt idx="2733">
                  <c:v>132.08699999999999</c:v>
                </c:pt>
                <c:pt idx="2734">
                  <c:v>132.08699999999999</c:v>
                </c:pt>
                <c:pt idx="2735">
                  <c:v>133.82499999999999</c:v>
                </c:pt>
                <c:pt idx="2736">
                  <c:v>133.38999999999999</c:v>
                </c:pt>
                <c:pt idx="2737">
                  <c:v>133.38999999999999</c:v>
                </c:pt>
                <c:pt idx="2738">
                  <c:v>133.38999999999999</c:v>
                </c:pt>
                <c:pt idx="2739">
                  <c:v>133.38999999999999</c:v>
                </c:pt>
                <c:pt idx="2740">
                  <c:v>133.82499999999999</c:v>
                </c:pt>
                <c:pt idx="2741">
                  <c:v>134.69399999999999</c:v>
                </c:pt>
                <c:pt idx="2742">
                  <c:v>135.99700000000001</c:v>
                </c:pt>
                <c:pt idx="2743">
                  <c:v>137.30099999999999</c:v>
                </c:pt>
                <c:pt idx="2744">
                  <c:v>137.73500000000001</c:v>
                </c:pt>
                <c:pt idx="2745">
                  <c:v>137.73500000000001</c:v>
                </c:pt>
                <c:pt idx="2746">
                  <c:v>137.73500000000001</c:v>
                </c:pt>
                <c:pt idx="2747">
                  <c:v>139.03899999999999</c:v>
                </c:pt>
                <c:pt idx="2748">
                  <c:v>139.03899999999999</c:v>
                </c:pt>
                <c:pt idx="2749">
                  <c:v>139.03899999999999</c:v>
                </c:pt>
                <c:pt idx="2750">
                  <c:v>139.90799999999999</c:v>
                </c:pt>
                <c:pt idx="2751">
                  <c:v>139.90799999999999</c:v>
                </c:pt>
                <c:pt idx="2752">
                  <c:v>139.90799999999999</c:v>
                </c:pt>
                <c:pt idx="2753">
                  <c:v>139.90799999999999</c:v>
                </c:pt>
                <c:pt idx="2754">
                  <c:v>141.21100000000001</c:v>
                </c:pt>
                <c:pt idx="2755">
                  <c:v>142.51499999999999</c:v>
                </c:pt>
                <c:pt idx="2756">
                  <c:v>142.51499999999999</c:v>
                </c:pt>
                <c:pt idx="2757">
                  <c:v>142.51499999999999</c:v>
                </c:pt>
                <c:pt idx="2758">
                  <c:v>142.51499999999999</c:v>
                </c:pt>
                <c:pt idx="2759">
                  <c:v>142.51499999999999</c:v>
                </c:pt>
                <c:pt idx="2760">
                  <c:v>142.51499999999999</c:v>
                </c:pt>
                <c:pt idx="2761">
                  <c:v>142.51499999999999</c:v>
                </c:pt>
                <c:pt idx="2762">
                  <c:v>140.77699999999999</c:v>
                </c:pt>
                <c:pt idx="2763">
                  <c:v>139.47300000000001</c:v>
                </c:pt>
                <c:pt idx="2764">
                  <c:v>137.73500000000001</c:v>
                </c:pt>
                <c:pt idx="2765">
                  <c:v>135.12799999999999</c:v>
                </c:pt>
                <c:pt idx="2766">
                  <c:v>135.12799999999999</c:v>
                </c:pt>
                <c:pt idx="2767">
                  <c:v>135.12799999999999</c:v>
                </c:pt>
                <c:pt idx="2768">
                  <c:v>135.12799999999999</c:v>
                </c:pt>
                <c:pt idx="2769">
                  <c:v>133.38999999999999</c:v>
                </c:pt>
                <c:pt idx="2770">
                  <c:v>133.38999999999999</c:v>
                </c:pt>
                <c:pt idx="2771">
                  <c:v>136.43199999999999</c:v>
                </c:pt>
                <c:pt idx="2772">
                  <c:v>137.30099999999999</c:v>
                </c:pt>
                <c:pt idx="2773">
                  <c:v>137.30099999999999</c:v>
                </c:pt>
                <c:pt idx="2774">
                  <c:v>137.30099999999999</c:v>
                </c:pt>
                <c:pt idx="2775">
                  <c:v>139.90799999999999</c:v>
                </c:pt>
                <c:pt idx="2776">
                  <c:v>140.34200000000001</c:v>
                </c:pt>
                <c:pt idx="2777">
                  <c:v>139.90799999999999</c:v>
                </c:pt>
                <c:pt idx="2778">
                  <c:v>140.34200000000001</c:v>
                </c:pt>
                <c:pt idx="2779">
                  <c:v>141.21100000000001</c:v>
                </c:pt>
                <c:pt idx="2780">
                  <c:v>141.21100000000001</c:v>
                </c:pt>
                <c:pt idx="2781">
                  <c:v>141.21100000000001</c:v>
                </c:pt>
                <c:pt idx="2782">
                  <c:v>140.77699999999999</c:v>
                </c:pt>
                <c:pt idx="2783">
                  <c:v>142.94900000000001</c:v>
                </c:pt>
                <c:pt idx="2784">
                  <c:v>144.25299999999999</c:v>
                </c:pt>
                <c:pt idx="2785">
                  <c:v>145.149</c:v>
                </c:pt>
                <c:pt idx="2786">
                  <c:v>145.149</c:v>
                </c:pt>
                <c:pt idx="2787">
                  <c:v>145.149</c:v>
                </c:pt>
                <c:pt idx="2788">
                  <c:v>145.149</c:v>
                </c:pt>
                <c:pt idx="2789">
                  <c:v>146.941</c:v>
                </c:pt>
                <c:pt idx="2790">
                  <c:v>147.38900000000001</c:v>
                </c:pt>
                <c:pt idx="2791">
                  <c:v>146.941</c:v>
                </c:pt>
                <c:pt idx="2792">
                  <c:v>145.59700000000001</c:v>
                </c:pt>
                <c:pt idx="2793">
                  <c:v>146.04499999999999</c:v>
                </c:pt>
                <c:pt idx="2794">
                  <c:v>146.04499999999999</c:v>
                </c:pt>
                <c:pt idx="2795">
                  <c:v>146.04499999999999</c:v>
                </c:pt>
                <c:pt idx="2796">
                  <c:v>145.59700000000001</c:v>
                </c:pt>
                <c:pt idx="2797">
                  <c:v>143.80500000000001</c:v>
                </c:pt>
                <c:pt idx="2798">
                  <c:v>143.357</c:v>
                </c:pt>
                <c:pt idx="2799">
                  <c:v>143.357</c:v>
                </c:pt>
                <c:pt idx="2800">
                  <c:v>144.25299999999999</c:v>
                </c:pt>
                <c:pt idx="2801">
                  <c:v>144.25299999999999</c:v>
                </c:pt>
                <c:pt idx="2802">
                  <c:v>144.25299999999999</c:v>
                </c:pt>
                <c:pt idx="2803">
                  <c:v>143.357</c:v>
                </c:pt>
                <c:pt idx="2804">
                  <c:v>142.46100000000001</c:v>
                </c:pt>
                <c:pt idx="2805">
                  <c:v>144.25299999999999</c:v>
                </c:pt>
                <c:pt idx="2806">
                  <c:v>144.25299999999999</c:v>
                </c:pt>
                <c:pt idx="2807">
                  <c:v>142.90899999999999</c:v>
                </c:pt>
                <c:pt idx="2808">
                  <c:v>142.90899999999999</c:v>
                </c:pt>
                <c:pt idx="2809">
                  <c:v>142.90899999999999</c:v>
                </c:pt>
                <c:pt idx="2810">
                  <c:v>142.90899999999999</c:v>
                </c:pt>
                <c:pt idx="2811">
                  <c:v>144.25299999999999</c:v>
                </c:pt>
                <c:pt idx="2812">
                  <c:v>146.49299999999999</c:v>
                </c:pt>
                <c:pt idx="2813">
                  <c:v>148.733</c:v>
                </c:pt>
                <c:pt idx="2814">
                  <c:v>148.733</c:v>
                </c:pt>
                <c:pt idx="2815">
                  <c:v>148.733</c:v>
                </c:pt>
                <c:pt idx="2816">
                  <c:v>148.733</c:v>
                </c:pt>
                <c:pt idx="2817">
                  <c:v>150.97300000000001</c:v>
                </c:pt>
                <c:pt idx="2818">
                  <c:v>147.83699999999999</c:v>
                </c:pt>
                <c:pt idx="2819">
                  <c:v>149.62899999999999</c:v>
                </c:pt>
                <c:pt idx="2820">
                  <c:v>150.52500000000001</c:v>
                </c:pt>
                <c:pt idx="2821">
                  <c:v>151.42099999999999</c:v>
                </c:pt>
                <c:pt idx="2822">
                  <c:v>151.42099999999999</c:v>
                </c:pt>
                <c:pt idx="2823">
                  <c:v>151.42099999999999</c:v>
                </c:pt>
                <c:pt idx="2824">
                  <c:v>150.52500000000001</c:v>
                </c:pt>
                <c:pt idx="2825">
                  <c:v>150.077</c:v>
                </c:pt>
                <c:pt idx="2826">
                  <c:v>150.077</c:v>
                </c:pt>
                <c:pt idx="2827">
                  <c:v>151.42099999999999</c:v>
                </c:pt>
                <c:pt idx="2828">
                  <c:v>150.52500000000001</c:v>
                </c:pt>
                <c:pt idx="2829">
                  <c:v>150.52500000000001</c:v>
                </c:pt>
                <c:pt idx="2830">
                  <c:v>150.52500000000001</c:v>
                </c:pt>
                <c:pt idx="2831">
                  <c:v>151.42099999999999</c:v>
                </c:pt>
                <c:pt idx="2832">
                  <c:v>150.077</c:v>
                </c:pt>
                <c:pt idx="2833">
                  <c:v>149.62899999999999</c:v>
                </c:pt>
                <c:pt idx="2834">
                  <c:v>150.97300000000001</c:v>
                </c:pt>
                <c:pt idx="2835">
                  <c:v>151.42099999999999</c:v>
                </c:pt>
                <c:pt idx="2836">
                  <c:v>151.42099999999999</c:v>
                </c:pt>
                <c:pt idx="2837">
                  <c:v>151.42099999999999</c:v>
                </c:pt>
                <c:pt idx="2838">
                  <c:v>150.077</c:v>
                </c:pt>
                <c:pt idx="2839">
                  <c:v>150.077</c:v>
                </c:pt>
                <c:pt idx="2840">
                  <c:v>150.077</c:v>
                </c:pt>
                <c:pt idx="2841">
                  <c:v>149.18100000000001</c:v>
                </c:pt>
                <c:pt idx="2842">
                  <c:v>149.62899999999999</c:v>
                </c:pt>
                <c:pt idx="2843">
                  <c:v>149.62899999999999</c:v>
                </c:pt>
                <c:pt idx="2844">
                  <c:v>149.62899999999999</c:v>
                </c:pt>
                <c:pt idx="2845">
                  <c:v>150.077</c:v>
                </c:pt>
                <c:pt idx="2846">
                  <c:v>150.52500000000001</c:v>
                </c:pt>
                <c:pt idx="2847">
                  <c:v>148.733</c:v>
                </c:pt>
                <c:pt idx="2848">
                  <c:v>150.077</c:v>
                </c:pt>
                <c:pt idx="2849">
                  <c:v>150.97300000000001</c:v>
                </c:pt>
                <c:pt idx="2850">
                  <c:v>150.97300000000001</c:v>
                </c:pt>
                <c:pt idx="2851">
                  <c:v>150.97300000000001</c:v>
                </c:pt>
                <c:pt idx="2852">
                  <c:v>150.97300000000001</c:v>
                </c:pt>
                <c:pt idx="2853">
                  <c:v>151.869</c:v>
                </c:pt>
                <c:pt idx="2854">
                  <c:v>151.869</c:v>
                </c:pt>
                <c:pt idx="2855">
                  <c:v>152.31700000000001</c:v>
                </c:pt>
                <c:pt idx="2856">
                  <c:v>151.42099999999999</c:v>
                </c:pt>
                <c:pt idx="2857">
                  <c:v>151.42099999999999</c:v>
                </c:pt>
                <c:pt idx="2858">
                  <c:v>151.42099999999999</c:v>
                </c:pt>
                <c:pt idx="2859">
                  <c:v>151.869</c:v>
                </c:pt>
                <c:pt idx="2860">
                  <c:v>151.42099999999999</c:v>
                </c:pt>
                <c:pt idx="2861">
                  <c:v>151.42099999999999</c:v>
                </c:pt>
                <c:pt idx="2862">
                  <c:v>151.869</c:v>
                </c:pt>
                <c:pt idx="2863">
                  <c:v>151.869</c:v>
                </c:pt>
                <c:pt idx="2864">
                  <c:v>151.869</c:v>
                </c:pt>
                <c:pt idx="2865">
                  <c:v>151.869</c:v>
                </c:pt>
                <c:pt idx="2866">
                  <c:v>147.83699999999999</c:v>
                </c:pt>
                <c:pt idx="2867">
                  <c:v>148.733</c:v>
                </c:pt>
                <c:pt idx="2868">
                  <c:v>148.285</c:v>
                </c:pt>
                <c:pt idx="2869">
                  <c:v>146.941</c:v>
                </c:pt>
                <c:pt idx="2870">
                  <c:v>144.25299999999999</c:v>
                </c:pt>
                <c:pt idx="2871">
                  <c:v>144.25299999999999</c:v>
                </c:pt>
                <c:pt idx="2872">
                  <c:v>144.25299999999999</c:v>
                </c:pt>
                <c:pt idx="2873">
                  <c:v>145.149</c:v>
                </c:pt>
                <c:pt idx="2874">
                  <c:v>144.70099999999999</c:v>
                </c:pt>
                <c:pt idx="2875">
                  <c:v>141.565</c:v>
                </c:pt>
                <c:pt idx="2876">
                  <c:v>142.90899999999999</c:v>
                </c:pt>
                <c:pt idx="2877">
                  <c:v>144.25299999999999</c:v>
                </c:pt>
                <c:pt idx="2878">
                  <c:v>144.25299999999999</c:v>
                </c:pt>
                <c:pt idx="2879">
                  <c:v>144.25299999999999</c:v>
                </c:pt>
                <c:pt idx="2880">
                  <c:v>147.83699999999999</c:v>
                </c:pt>
                <c:pt idx="2881">
                  <c:v>152.76499999999999</c:v>
                </c:pt>
                <c:pt idx="2882">
                  <c:v>150.077</c:v>
                </c:pt>
                <c:pt idx="2883">
                  <c:v>150.077</c:v>
                </c:pt>
                <c:pt idx="2884">
                  <c:v>152.31700000000001</c:v>
                </c:pt>
                <c:pt idx="2885">
                  <c:v>152.31700000000001</c:v>
                </c:pt>
                <c:pt idx="2886">
                  <c:v>152.31700000000001</c:v>
                </c:pt>
                <c:pt idx="2887">
                  <c:v>152.31700000000001</c:v>
                </c:pt>
                <c:pt idx="2888">
                  <c:v>155.005</c:v>
                </c:pt>
                <c:pt idx="2889">
                  <c:v>159.48400000000001</c:v>
                </c:pt>
                <c:pt idx="2890">
                  <c:v>161.27600000000001</c:v>
                </c:pt>
                <c:pt idx="2891">
                  <c:v>163.964</c:v>
                </c:pt>
                <c:pt idx="2892">
                  <c:v>163.964</c:v>
                </c:pt>
                <c:pt idx="2893">
                  <c:v>163.964</c:v>
                </c:pt>
                <c:pt idx="2894">
                  <c:v>163.964</c:v>
                </c:pt>
                <c:pt idx="2895">
                  <c:v>160.828</c:v>
                </c:pt>
                <c:pt idx="2896">
                  <c:v>159.93199999999999</c:v>
                </c:pt>
                <c:pt idx="2897">
                  <c:v>159.93199999999999</c:v>
                </c:pt>
                <c:pt idx="2898">
                  <c:v>164.86</c:v>
                </c:pt>
                <c:pt idx="2899">
                  <c:v>164.86</c:v>
                </c:pt>
                <c:pt idx="2900">
                  <c:v>164.86</c:v>
                </c:pt>
                <c:pt idx="2901">
                  <c:v>161.27600000000001</c:v>
                </c:pt>
                <c:pt idx="2902">
                  <c:v>162.62</c:v>
                </c:pt>
                <c:pt idx="2903">
                  <c:v>163.964</c:v>
                </c:pt>
                <c:pt idx="2904">
                  <c:v>163.964</c:v>
                </c:pt>
                <c:pt idx="2905">
                  <c:v>163.964</c:v>
                </c:pt>
                <c:pt idx="2906">
                  <c:v>163.964</c:v>
                </c:pt>
                <c:pt idx="2907">
                  <c:v>163.964</c:v>
                </c:pt>
                <c:pt idx="2908">
                  <c:v>161.27600000000001</c:v>
                </c:pt>
                <c:pt idx="2909">
                  <c:v>163.06800000000001</c:v>
                </c:pt>
                <c:pt idx="2910">
                  <c:v>163.964</c:v>
                </c:pt>
                <c:pt idx="2911">
                  <c:v>165.756</c:v>
                </c:pt>
                <c:pt idx="2912">
                  <c:v>164.86</c:v>
                </c:pt>
                <c:pt idx="2913">
                  <c:v>164.86</c:v>
                </c:pt>
                <c:pt idx="2914">
                  <c:v>164.86</c:v>
                </c:pt>
                <c:pt idx="2915">
                  <c:v>163.06800000000001</c:v>
                </c:pt>
                <c:pt idx="2916">
                  <c:v>163.964</c:v>
                </c:pt>
                <c:pt idx="2917">
                  <c:v>160.38</c:v>
                </c:pt>
                <c:pt idx="2918">
                  <c:v>163.06800000000001</c:v>
                </c:pt>
                <c:pt idx="2919">
                  <c:v>163.964</c:v>
                </c:pt>
                <c:pt idx="2920">
                  <c:v>163.964</c:v>
                </c:pt>
                <c:pt idx="2921">
                  <c:v>163.964</c:v>
                </c:pt>
                <c:pt idx="2922">
                  <c:v>162.172</c:v>
                </c:pt>
                <c:pt idx="2923">
                  <c:v>164.41200000000001</c:v>
                </c:pt>
                <c:pt idx="2924">
                  <c:v>160.38</c:v>
                </c:pt>
                <c:pt idx="2925">
                  <c:v>156.797</c:v>
                </c:pt>
                <c:pt idx="2926">
                  <c:v>159.48400000000001</c:v>
                </c:pt>
                <c:pt idx="2927">
                  <c:v>159.48400000000001</c:v>
                </c:pt>
                <c:pt idx="2928">
                  <c:v>159.48400000000001</c:v>
                </c:pt>
                <c:pt idx="2929">
                  <c:v>160.38</c:v>
                </c:pt>
                <c:pt idx="2930">
                  <c:v>158.58799999999999</c:v>
                </c:pt>
                <c:pt idx="2931">
                  <c:v>158.58799999999999</c:v>
                </c:pt>
                <c:pt idx="2932">
                  <c:v>160.38</c:v>
                </c:pt>
                <c:pt idx="2933">
                  <c:v>156.797</c:v>
                </c:pt>
                <c:pt idx="2934">
                  <c:v>156.797</c:v>
                </c:pt>
                <c:pt idx="2935">
                  <c:v>156.797</c:v>
                </c:pt>
                <c:pt idx="2936">
                  <c:v>156.797</c:v>
                </c:pt>
                <c:pt idx="2937">
                  <c:v>156.797</c:v>
                </c:pt>
                <c:pt idx="2938">
                  <c:v>156.797</c:v>
                </c:pt>
                <c:pt idx="2939">
                  <c:v>158.13999999999999</c:v>
                </c:pt>
                <c:pt idx="2940">
                  <c:v>155.90100000000001</c:v>
                </c:pt>
                <c:pt idx="2941">
                  <c:v>155.90100000000001</c:v>
                </c:pt>
                <c:pt idx="2942">
                  <c:v>155.90100000000001</c:v>
                </c:pt>
                <c:pt idx="2943">
                  <c:v>152.31700000000001</c:v>
                </c:pt>
                <c:pt idx="2944">
                  <c:v>156.797</c:v>
                </c:pt>
                <c:pt idx="2945">
                  <c:v>156.797</c:v>
                </c:pt>
                <c:pt idx="2946">
                  <c:v>156.797</c:v>
                </c:pt>
                <c:pt idx="2947">
                  <c:v>156.797</c:v>
                </c:pt>
                <c:pt idx="2948">
                  <c:v>156.797</c:v>
                </c:pt>
                <c:pt idx="2949">
                  <c:v>156.797</c:v>
                </c:pt>
                <c:pt idx="2950">
                  <c:v>158.13999999999999</c:v>
                </c:pt>
                <c:pt idx="2951">
                  <c:v>155.005</c:v>
                </c:pt>
                <c:pt idx="2952">
                  <c:v>157.245</c:v>
                </c:pt>
                <c:pt idx="2953">
                  <c:v>158.58799999999999</c:v>
                </c:pt>
                <c:pt idx="2954">
                  <c:v>157.245</c:v>
                </c:pt>
                <c:pt idx="2955">
                  <c:v>157.245</c:v>
                </c:pt>
                <c:pt idx="2956">
                  <c:v>157.245</c:v>
                </c:pt>
                <c:pt idx="2957">
                  <c:v>156.34899999999999</c:v>
                </c:pt>
                <c:pt idx="2958">
                  <c:v>156.797</c:v>
                </c:pt>
                <c:pt idx="2959">
                  <c:v>160.828</c:v>
                </c:pt>
                <c:pt idx="2960">
                  <c:v>161.27600000000001</c:v>
                </c:pt>
                <c:pt idx="2961">
                  <c:v>157.69300000000001</c:v>
                </c:pt>
                <c:pt idx="2962">
                  <c:v>157.69300000000001</c:v>
                </c:pt>
                <c:pt idx="2963">
                  <c:v>157.69300000000001</c:v>
                </c:pt>
                <c:pt idx="2964">
                  <c:v>156.797</c:v>
                </c:pt>
                <c:pt idx="2965">
                  <c:v>156.797</c:v>
                </c:pt>
                <c:pt idx="2966">
                  <c:v>157.69300000000001</c:v>
                </c:pt>
                <c:pt idx="2967">
                  <c:v>157.245</c:v>
                </c:pt>
                <c:pt idx="2968">
                  <c:v>159.48400000000001</c:v>
                </c:pt>
                <c:pt idx="2969">
                  <c:v>159.48400000000001</c:v>
                </c:pt>
                <c:pt idx="2970">
                  <c:v>159.48400000000001</c:v>
                </c:pt>
                <c:pt idx="2971">
                  <c:v>157.69300000000001</c:v>
                </c:pt>
                <c:pt idx="2972">
                  <c:v>158.13999999999999</c:v>
                </c:pt>
                <c:pt idx="2973">
                  <c:v>156.34899999999999</c:v>
                </c:pt>
                <c:pt idx="2974">
                  <c:v>157.69300000000001</c:v>
                </c:pt>
                <c:pt idx="2975">
                  <c:v>156.797</c:v>
                </c:pt>
                <c:pt idx="2976">
                  <c:v>156.797</c:v>
                </c:pt>
                <c:pt idx="2977">
                  <c:v>156.797</c:v>
                </c:pt>
                <c:pt idx="2978">
                  <c:v>157.245</c:v>
                </c:pt>
                <c:pt idx="2979">
                  <c:v>157.245</c:v>
                </c:pt>
                <c:pt idx="2980">
                  <c:v>157.69300000000001</c:v>
                </c:pt>
                <c:pt idx="2981">
                  <c:v>158.58799999999999</c:v>
                </c:pt>
                <c:pt idx="2982">
                  <c:v>165.756</c:v>
                </c:pt>
                <c:pt idx="2983">
                  <c:v>165.756</c:v>
                </c:pt>
                <c:pt idx="2984">
                  <c:v>165.756</c:v>
                </c:pt>
                <c:pt idx="2985">
                  <c:v>158.13999999999999</c:v>
                </c:pt>
                <c:pt idx="2986">
                  <c:v>157.245</c:v>
                </c:pt>
                <c:pt idx="2987">
                  <c:v>156.34899999999999</c:v>
                </c:pt>
                <c:pt idx="2988">
                  <c:v>153.21299999999999</c:v>
                </c:pt>
                <c:pt idx="2989">
                  <c:v>153.21299999999999</c:v>
                </c:pt>
                <c:pt idx="2990">
                  <c:v>153.21299999999999</c:v>
                </c:pt>
                <c:pt idx="2991">
                  <c:v>153.21299999999999</c:v>
                </c:pt>
                <c:pt idx="2992">
                  <c:v>152.76499999999999</c:v>
                </c:pt>
                <c:pt idx="2993">
                  <c:v>153.21299999999999</c:v>
                </c:pt>
                <c:pt idx="2994">
                  <c:v>156.34899999999999</c:v>
                </c:pt>
                <c:pt idx="2995">
                  <c:v>156.34899999999999</c:v>
                </c:pt>
                <c:pt idx="2996">
                  <c:v>156.34899999999999</c:v>
                </c:pt>
                <c:pt idx="2997">
                  <c:v>156.34899999999999</c:v>
                </c:pt>
                <c:pt idx="2998">
                  <c:v>156.34899999999999</c:v>
                </c:pt>
                <c:pt idx="2999">
                  <c:v>155.434</c:v>
                </c:pt>
                <c:pt idx="3000">
                  <c:v>157.26300000000001</c:v>
                </c:pt>
                <c:pt idx="3001">
                  <c:v>160.006</c:v>
                </c:pt>
                <c:pt idx="3002">
                  <c:v>160.46299999999999</c:v>
                </c:pt>
                <c:pt idx="3003">
                  <c:v>160.91999999999999</c:v>
                </c:pt>
                <c:pt idx="3004">
                  <c:v>160.91999999999999</c:v>
                </c:pt>
                <c:pt idx="3005">
                  <c:v>160.91999999999999</c:v>
                </c:pt>
                <c:pt idx="3006">
                  <c:v>160.006</c:v>
                </c:pt>
                <c:pt idx="3007">
                  <c:v>160.006</c:v>
                </c:pt>
                <c:pt idx="3008">
                  <c:v>160.006</c:v>
                </c:pt>
                <c:pt idx="3009">
                  <c:v>160.006</c:v>
                </c:pt>
                <c:pt idx="3010">
                  <c:v>159.54900000000001</c:v>
                </c:pt>
                <c:pt idx="3011">
                  <c:v>159.54900000000001</c:v>
                </c:pt>
                <c:pt idx="3012">
                  <c:v>159.54900000000001</c:v>
                </c:pt>
                <c:pt idx="3013">
                  <c:v>160.91999999999999</c:v>
                </c:pt>
                <c:pt idx="3014">
                  <c:v>160.91999999999999</c:v>
                </c:pt>
                <c:pt idx="3015">
                  <c:v>160.91999999999999</c:v>
                </c:pt>
                <c:pt idx="3016">
                  <c:v>157.72</c:v>
                </c:pt>
                <c:pt idx="3017">
                  <c:v>159.09100000000001</c:v>
                </c:pt>
                <c:pt idx="3018">
                  <c:v>159.09100000000001</c:v>
                </c:pt>
                <c:pt idx="3019">
                  <c:v>159.09100000000001</c:v>
                </c:pt>
                <c:pt idx="3020">
                  <c:v>158.63399999999999</c:v>
                </c:pt>
                <c:pt idx="3021">
                  <c:v>156.34899999999999</c:v>
                </c:pt>
                <c:pt idx="3022">
                  <c:v>157.72</c:v>
                </c:pt>
                <c:pt idx="3023">
                  <c:v>160.006</c:v>
                </c:pt>
                <c:pt idx="3024">
                  <c:v>160.006</c:v>
                </c:pt>
                <c:pt idx="3025">
                  <c:v>160.006</c:v>
                </c:pt>
                <c:pt idx="3026">
                  <c:v>160.006</c:v>
                </c:pt>
                <c:pt idx="3027">
                  <c:v>160.006</c:v>
                </c:pt>
                <c:pt idx="3028">
                  <c:v>157.26300000000001</c:v>
                </c:pt>
                <c:pt idx="3029">
                  <c:v>158.63399999999999</c:v>
                </c:pt>
                <c:pt idx="3030">
                  <c:v>158.63399999999999</c:v>
                </c:pt>
                <c:pt idx="3031">
                  <c:v>158.63399999999999</c:v>
                </c:pt>
                <c:pt idx="3032">
                  <c:v>158.63399999999999</c:v>
                </c:pt>
                <c:pt idx="3033">
                  <c:v>158.63399999999999</c:v>
                </c:pt>
                <c:pt idx="3034">
                  <c:v>158.63399999999999</c:v>
                </c:pt>
                <c:pt idx="3035">
                  <c:v>159.54900000000001</c:v>
                </c:pt>
                <c:pt idx="3036">
                  <c:v>160.006</c:v>
                </c:pt>
                <c:pt idx="3037">
                  <c:v>160.91999999999999</c:v>
                </c:pt>
                <c:pt idx="3038">
                  <c:v>160.91999999999999</c:v>
                </c:pt>
                <c:pt idx="3039">
                  <c:v>160.91999999999999</c:v>
                </c:pt>
                <c:pt idx="3040">
                  <c:v>160.91999999999999</c:v>
                </c:pt>
                <c:pt idx="3041">
                  <c:v>160.46299999999999</c:v>
                </c:pt>
                <c:pt idx="3042">
                  <c:v>160.46299999999999</c:v>
                </c:pt>
                <c:pt idx="3043">
                  <c:v>159.09100000000001</c:v>
                </c:pt>
                <c:pt idx="3044">
                  <c:v>158.17699999999999</c:v>
                </c:pt>
                <c:pt idx="3045">
                  <c:v>157.26300000000001</c:v>
                </c:pt>
                <c:pt idx="3046">
                  <c:v>157.26300000000001</c:v>
                </c:pt>
                <c:pt idx="3047">
                  <c:v>157.26300000000001</c:v>
                </c:pt>
                <c:pt idx="3048">
                  <c:v>158.63399999999999</c:v>
                </c:pt>
                <c:pt idx="3049">
                  <c:v>158.17699999999999</c:v>
                </c:pt>
                <c:pt idx="3050">
                  <c:v>158.63399999999999</c:v>
                </c:pt>
                <c:pt idx="3051">
                  <c:v>160.91999999999999</c:v>
                </c:pt>
                <c:pt idx="3052">
                  <c:v>160.46299999999999</c:v>
                </c:pt>
                <c:pt idx="3053">
                  <c:v>160.46299999999999</c:v>
                </c:pt>
                <c:pt idx="3054">
                  <c:v>160.46299999999999</c:v>
                </c:pt>
                <c:pt idx="3055">
                  <c:v>160.91999999999999</c:v>
                </c:pt>
                <c:pt idx="3056">
                  <c:v>161.37700000000001</c:v>
                </c:pt>
                <c:pt idx="3057">
                  <c:v>164.577</c:v>
                </c:pt>
                <c:pt idx="3058">
                  <c:v>166.863</c:v>
                </c:pt>
                <c:pt idx="3059">
                  <c:v>165.49199999999999</c:v>
                </c:pt>
                <c:pt idx="3060">
                  <c:v>165.49199999999999</c:v>
                </c:pt>
                <c:pt idx="3061">
                  <c:v>165.49199999999999</c:v>
                </c:pt>
                <c:pt idx="3062">
                  <c:v>167.32</c:v>
                </c:pt>
                <c:pt idx="3063">
                  <c:v>165.94900000000001</c:v>
                </c:pt>
                <c:pt idx="3064">
                  <c:v>165.49199999999999</c:v>
                </c:pt>
                <c:pt idx="3065">
                  <c:v>165.49199999999999</c:v>
                </c:pt>
                <c:pt idx="3066">
                  <c:v>165.49199999999999</c:v>
                </c:pt>
                <c:pt idx="3067">
                  <c:v>165.49199999999999</c:v>
                </c:pt>
                <c:pt idx="3068">
                  <c:v>165.49199999999999</c:v>
                </c:pt>
                <c:pt idx="3069">
                  <c:v>161.834</c:v>
                </c:pt>
                <c:pt idx="3070">
                  <c:v>160.91999999999999</c:v>
                </c:pt>
                <c:pt idx="3071">
                  <c:v>161.37700000000001</c:v>
                </c:pt>
                <c:pt idx="3072">
                  <c:v>160.006</c:v>
                </c:pt>
                <c:pt idx="3073">
                  <c:v>155.434</c:v>
                </c:pt>
                <c:pt idx="3074">
                  <c:v>155.434</c:v>
                </c:pt>
                <c:pt idx="3075">
                  <c:v>155.434</c:v>
                </c:pt>
                <c:pt idx="3076">
                  <c:v>155.434</c:v>
                </c:pt>
                <c:pt idx="3077">
                  <c:v>157.26300000000001</c:v>
                </c:pt>
                <c:pt idx="3078">
                  <c:v>155.89099999999999</c:v>
                </c:pt>
                <c:pt idx="3079">
                  <c:v>156.34899999999999</c:v>
                </c:pt>
                <c:pt idx="3080">
                  <c:v>149.94800000000001</c:v>
                </c:pt>
                <c:pt idx="3081">
                  <c:v>149.94800000000001</c:v>
                </c:pt>
                <c:pt idx="3082">
                  <c:v>149.94800000000001</c:v>
                </c:pt>
                <c:pt idx="3083">
                  <c:v>142.17699999999999</c:v>
                </c:pt>
                <c:pt idx="3084">
                  <c:v>141.71899999999999</c:v>
                </c:pt>
                <c:pt idx="3085">
                  <c:v>139.89099999999999</c:v>
                </c:pt>
                <c:pt idx="3086">
                  <c:v>131.20500000000001</c:v>
                </c:pt>
                <c:pt idx="3087">
                  <c:v>130.74799999999999</c:v>
                </c:pt>
                <c:pt idx="3088">
                  <c:v>130.74799999999999</c:v>
                </c:pt>
                <c:pt idx="3089">
                  <c:v>130.74799999999999</c:v>
                </c:pt>
                <c:pt idx="3090">
                  <c:v>119.776</c:v>
                </c:pt>
                <c:pt idx="3091">
                  <c:v>122.062</c:v>
                </c:pt>
                <c:pt idx="3092">
                  <c:v>118.404</c:v>
                </c:pt>
                <c:pt idx="3093">
                  <c:v>118.861</c:v>
                </c:pt>
                <c:pt idx="3094">
                  <c:v>122.062</c:v>
                </c:pt>
                <c:pt idx="3095">
                  <c:v>122.062</c:v>
                </c:pt>
                <c:pt idx="3096">
                  <c:v>122.062</c:v>
                </c:pt>
                <c:pt idx="3097">
                  <c:v>117.49</c:v>
                </c:pt>
                <c:pt idx="3098">
                  <c:v>117.947</c:v>
                </c:pt>
                <c:pt idx="3099">
                  <c:v>120.69</c:v>
                </c:pt>
                <c:pt idx="3100">
                  <c:v>119.776</c:v>
                </c:pt>
                <c:pt idx="3101">
                  <c:v>120.69</c:v>
                </c:pt>
                <c:pt idx="3102">
                  <c:v>120.69</c:v>
                </c:pt>
                <c:pt idx="3103">
                  <c:v>120.69</c:v>
                </c:pt>
                <c:pt idx="3104">
                  <c:v>125.71899999999999</c:v>
                </c:pt>
                <c:pt idx="3105">
                  <c:v>133.49100000000001</c:v>
                </c:pt>
                <c:pt idx="3106">
                  <c:v>136.59899999999999</c:v>
                </c:pt>
                <c:pt idx="3107">
                  <c:v>142.63399999999999</c:v>
                </c:pt>
                <c:pt idx="3108">
                  <c:v>138.976</c:v>
                </c:pt>
                <c:pt idx="3109">
                  <c:v>138.976</c:v>
                </c:pt>
                <c:pt idx="3110">
                  <c:v>138.976</c:v>
                </c:pt>
                <c:pt idx="3111">
                  <c:v>140.07400000000001</c:v>
                </c:pt>
                <c:pt idx="3112">
                  <c:v>141.53700000000001</c:v>
                </c:pt>
                <c:pt idx="3113">
                  <c:v>140.80500000000001</c:v>
                </c:pt>
                <c:pt idx="3114">
                  <c:v>140.80500000000001</c:v>
                </c:pt>
                <c:pt idx="3115">
                  <c:v>140.80500000000001</c:v>
                </c:pt>
                <c:pt idx="3116">
                  <c:v>140.80500000000001</c:v>
                </c:pt>
                <c:pt idx="3117">
                  <c:v>140.80500000000001</c:v>
                </c:pt>
                <c:pt idx="3118">
                  <c:v>140.80500000000001</c:v>
                </c:pt>
                <c:pt idx="3119">
                  <c:v>147.93700000000001</c:v>
                </c:pt>
                <c:pt idx="3120">
                  <c:v>144.46199999999999</c:v>
                </c:pt>
                <c:pt idx="3121">
                  <c:v>143.36500000000001</c:v>
                </c:pt>
                <c:pt idx="3122">
                  <c:v>146.108</c:v>
                </c:pt>
                <c:pt idx="3123">
                  <c:v>146.108</c:v>
                </c:pt>
                <c:pt idx="3124">
                  <c:v>146.108</c:v>
                </c:pt>
                <c:pt idx="3125">
                  <c:v>149.03399999999999</c:v>
                </c:pt>
                <c:pt idx="3126">
                  <c:v>146.84</c:v>
                </c:pt>
                <c:pt idx="3127">
                  <c:v>146.291</c:v>
                </c:pt>
                <c:pt idx="3128">
                  <c:v>149.21700000000001</c:v>
                </c:pt>
                <c:pt idx="3129">
                  <c:v>149.03399999999999</c:v>
                </c:pt>
                <c:pt idx="3130">
                  <c:v>149.03399999999999</c:v>
                </c:pt>
                <c:pt idx="3131">
                  <c:v>149.03399999999999</c:v>
                </c:pt>
                <c:pt idx="3132">
                  <c:v>149.94800000000001</c:v>
                </c:pt>
                <c:pt idx="3133">
                  <c:v>151.77699999999999</c:v>
                </c:pt>
                <c:pt idx="3134">
                  <c:v>154.154</c:v>
                </c:pt>
                <c:pt idx="3135">
                  <c:v>153.971</c:v>
                </c:pt>
                <c:pt idx="3136">
                  <c:v>153.971</c:v>
                </c:pt>
                <c:pt idx="3137">
                  <c:v>153.971</c:v>
                </c:pt>
                <c:pt idx="3138">
                  <c:v>153.971</c:v>
                </c:pt>
                <c:pt idx="3139">
                  <c:v>152.32599999999999</c:v>
                </c:pt>
                <c:pt idx="3140">
                  <c:v>153.423</c:v>
                </c:pt>
                <c:pt idx="3141">
                  <c:v>153.24</c:v>
                </c:pt>
                <c:pt idx="3142">
                  <c:v>153.24</c:v>
                </c:pt>
                <c:pt idx="3143">
                  <c:v>154.52000000000001</c:v>
                </c:pt>
                <c:pt idx="3144">
                  <c:v>154.52000000000001</c:v>
                </c:pt>
                <c:pt idx="3145">
                  <c:v>154.52000000000001</c:v>
                </c:pt>
                <c:pt idx="3146">
                  <c:v>152.691</c:v>
                </c:pt>
                <c:pt idx="3147">
                  <c:v>153.78800000000001</c:v>
                </c:pt>
                <c:pt idx="3148">
                  <c:v>154.703</c:v>
                </c:pt>
                <c:pt idx="3149">
                  <c:v>153.60599999999999</c:v>
                </c:pt>
                <c:pt idx="3150">
                  <c:v>153.05699999999999</c:v>
                </c:pt>
                <c:pt idx="3151">
                  <c:v>153.05699999999999</c:v>
                </c:pt>
                <c:pt idx="3152">
                  <c:v>153.05699999999999</c:v>
                </c:pt>
                <c:pt idx="3153">
                  <c:v>153.24700000000001</c:v>
                </c:pt>
                <c:pt idx="3154">
                  <c:v>153.43600000000001</c:v>
                </c:pt>
                <c:pt idx="3155">
                  <c:v>153.626</c:v>
                </c:pt>
                <c:pt idx="3156">
                  <c:v>153.626</c:v>
                </c:pt>
                <c:pt idx="3157">
                  <c:v>153.816</c:v>
                </c:pt>
                <c:pt idx="3158">
                  <c:v>153.816</c:v>
                </c:pt>
                <c:pt idx="3159">
                  <c:v>153.816</c:v>
                </c:pt>
                <c:pt idx="3160">
                  <c:v>154.57400000000001</c:v>
                </c:pt>
                <c:pt idx="3161">
                  <c:v>156.471</c:v>
                </c:pt>
                <c:pt idx="3162">
                  <c:v>158.93600000000001</c:v>
                </c:pt>
                <c:pt idx="3163">
                  <c:v>161.023</c:v>
                </c:pt>
                <c:pt idx="3164">
                  <c:v>161.971</c:v>
                </c:pt>
                <c:pt idx="3165">
                  <c:v>161.971</c:v>
                </c:pt>
                <c:pt idx="3166">
                  <c:v>161.971</c:v>
                </c:pt>
                <c:pt idx="3167">
                  <c:v>161.971</c:v>
                </c:pt>
                <c:pt idx="3168">
                  <c:v>162.161</c:v>
                </c:pt>
                <c:pt idx="3169">
                  <c:v>166.333</c:v>
                </c:pt>
                <c:pt idx="3170">
                  <c:v>168.79900000000001</c:v>
                </c:pt>
                <c:pt idx="3171">
                  <c:v>167.661</c:v>
                </c:pt>
                <c:pt idx="3172">
                  <c:v>167.661</c:v>
                </c:pt>
                <c:pt idx="3173">
                  <c:v>167.661</c:v>
                </c:pt>
                <c:pt idx="3174">
                  <c:v>170.506</c:v>
                </c:pt>
                <c:pt idx="3175">
                  <c:v>168.23</c:v>
                </c:pt>
                <c:pt idx="3176">
                  <c:v>167.09200000000001</c:v>
                </c:pt>
                <c:pt idx="3177">
                  <c:v>164.24700000000001</c:v>
                </c:pt>
                <c:pt idx="3178">
                  <c:v>163.488</c:v>
                </c:pt>
                <c:pt idx="3179">
                  <c:v>163.488</c:v>
                </c:pt>
                <c:pt idx="3180">
                  <c:v>163.488</c:v>
                </c:pt>
                <c:pt idx="3181">
                  <c:v>160.643</c:v>
                </c:pt>
                <c:pt idx="3182">
                  <c:v>164.05699999999999</c:v>
                </c:pt>
                <c:pt idx="3183">
                  <c:v>165.57499999999999</c:v>
                </c:pt>
                <c:pt idx="3184">
                  <c:v>165.95400000000001</c:v>
                </c:pt>
                <c:pt idx="3185">
                  <c:v>166.90199999999999</c:v>
                </c:pt>
                <c:pt idx="3186">
                  <c:v>166.90199999999999</c:v>
                </c:pt>
                <c:pt idx="3187">
                  <c:v>166.90199999999999</c:v>
                </c:pt>
                <c:pt idx="3188">
                  <c:v>164.05699999999999</c:v>
                </c:pt>
                <c:pt idx="3189">
                  <c:v>163.86799999999999</c:v>
                </c:pt>
                <c:pt idx="3190">
                  <c:v>167.851</c:v>
                </c:pt>
                <c:pt idx="3191">
                  <c:v>165.95400000000001</c:v>
                </c:pt>
                <c:pt idx="3192">
                  <c:v>160.833</c:v>
                </c:pt>
                <c:pt idx="3193">
                  <c:v>160.833</c:v>
                </c:pt>
                <c:pt idx="3194">
                  <c:v>160.833</c:v>
                </c:pt>
                <c:pt idx="3195">
                  <c:v>165.95400000000001</c:v>
                </c:pt>
                <c:pt idx="3196">
                  <c:v>163.488</c:v>
                </c:pt>
                <c:pt idx="3197">
                  <c:v>165.95400000000001</c:v>
                </c:pt>
                <c:pt idx="3198">
                  <c:v>168.79900000000001</c:v>
                </c:pt>
                <c:pt idx="3199">
                  <c:v>168.79900000000001</c:v>
                </c:pt>
                <c:pt idx="3200">
                  <c:v>168.79900000000001</c:v>
                </c:pt>
                <c:pt idx="3201">
                  <c:v>168.79900000000001</c:v>
                </c:pt>
                <c:pt idx="3202">
                  <c:v>168.79900000000001</c:v>
                </c:pt>
                <c:pt idx="3203">
                  <c:v>169.74700000000001</c:v>
                </c:pt>
                <c:pt idx="3204">
                  <c:v>170.12700000000001</c:v>
                </c:pt>
                <c:pt idx="3205">
                  <c:v>169.36799999999999</c:v>
                </c:pt>
                <c:pt idx="3206">
                  <c:v>170.696</c:v>
                </c:pt>
                <c:pt idx="3207">
                  <c:v>170.696</c:v>
                </c:pt>
                <c:pt idx="3208">
                  <c:v>170.696</c:v>
                </c:pt>
                <c:pt idx="3209">
                  <c:v>171.07499999999999</c:v>
                </c:pt>
                <c:pt idx="3210">
                  <c:v>171.64400000000001</c:v>
                </c:pt>
                <c:pt idx="3211">
                  <c:v>172.59200000000001</c:v>
                </c:pt>
                <c:pt idx="3212">
                  <c:v>171.45400000000001</c:v>
                </c:pt>
                <c:pt idx="3213">
                  <c:v>171.64400000000001</c:v>
                </c:pt>
                <c:pt idx="3214">
                  <c:v>171.64400000000001</c:v>
                </c:pt>
                <c:pt idx="3215">
                  <c:v>171.64400000000001</c:v>
                </c:pt>
                <c:pt idx="3216">
                  <c:v>169.178</c:v>
                </c:pt>
                <c:pt idx="3217">
                  <c:v>170.12700000000001</c:v>
                </c:pt>
                <c:pt idx="3218">
                  <c:v>170.696</c:v>
                </c:pt>
                <c:pt idx="3219">
                  <c:v>171.07499999999999</c:v>
                </c:pt>
                <c:pt idx="3220">
                  <c:v>169.93700000000001</c:v>
                </c:pt>
                <c:pt idx="3221">
                  <c:v>169.93700000000001</c:v>
                </c:pt>
                <c:pt idx="3222">
                  <c:v>169.93700000000001</c:v>
                </c:pt>
                <c:pt idx="3223">
                  <c:v>169.74700000000001</c:v>
                </c:pt>
                <c:pt idx="3224">
                  <c:v>166.333</c:v>
                </c:pt>
                <c:pt idx="3225">
                  <c:v>165.95400000000001</c:v>
                </c:pt>
                <c:pt idx="3226">
                  <c:v>165.57499999999999</c:v>
                </c:pt>
                <c:pt idx="3227">
                  <c:v>165.95400000000001</c:v>
                </c:pt>
                <c:pt idx="3228">
                  <c:v>165.95400000000001</c:v>
                </c:pt>
                <c:pt idx="3229">
                  <c:v>165.95400000000001</c:v>
                </c:pt>
                <c:pt idx="3230">
                  <c:v>167.851</c:v>
                </c:pt>
                <c:pt idx="3231">
                  <c:v>168.79900000000001</c:v>
                </c:pt>
                <c:pt idx="3232">
                  <c:v>169.36799999999999</c:v>
                </c:pt>
                <c:pt idx="3233">
                  <c:v>166.333</c:v>
                </c:pt>
                <c:pt idx="3234">
                  <c:v>165.95400000000001</c:v>
                </c:pt>
                <c:pt idx="3235">
                  <c:v>165.95400000000001</c:v>
                </c:pt>
                <c:pt idx="3236">
                  <c:v>165.95400000000001</c:v>
                </c:pt>
                <c:pt idx="3237">
                  <c:v>165.006</c:v>
                </c:pt>
                <c:pt idx="3238">
                  <c:v>166.333</c:v>
                </c:pt>
                <c:pt idx="3239">
                  <c:v>166.333</c:v>
                </c:pt>
                <c:pt idx="3240">
                  <c:v>165.95400000000001</c:v>
                </c:pt>
                <c:pt idx="3241">
                  <c:v>169.74700000000001</c:v>
                </c:pt>
                <c:pt idx="3242">
                  <c:v>169.74700000000001</c:v>
                </c:pt>
                <c:pt idx="3243">
                  <c:v>169.74700000000001</c:v>
                </c:pt>
                <c:pt idx="3244">
                  <c:v>165.95400000000001</c:v>
                </c:pt>
                <c:pt idx="3245">
                  <c:v>166.523</c:v>
                </c:pt>
                <c:pt idx="3246">
                  <c:v>168.79900000000001</c:v>
                </c:pt>
                <c:pt idx="3247">
                  <c:v>169.74700000000001</c:v>
                </c:pt>
                <c:pt idx="3248">
                  <c:v>167.471</c:v>
                </c:pt>
                <c:pt idx="3249">
                  <c:v>167.471</c:v>
                </c:pt>
                <c:pt idx="3250">
                  <c:v>167.471</c:v>
                </c:pt>
                <c:pt idx="3251">
                  <c:v>164.24700000000001</c:v>
                </c:pt>
                <c:pt idx="3252">
                  <c:v>158.178</c:v>
                </c:pt>
                <c:pt idx="3253">
                  <c:v>155.90199999999999</c:v>
                </c:pt>
                <c:pt idx="3254">
                  <c:v>156.28100000000001</c:v>
                </c:pt>
                <c:pt idx="3255">
                  <c:v>157.41900000000001</c:v>
                </c:pt>
                <c:pt idx="3256">
                  <c:v>157.41900000000001</c:v>
                </c:pt>
                <c:pt idx="3257">
                  <c:v>157.41900000000001</c:v>
                </c:pt>
                <c:pt idx="3258">
                  <c:v>157.988</c:v>
                </c:pt>
                <c:pt idx="3259">
                  <c:v>157.04</c:v>
                </c:pt>
                <c:pt idx="3260">
                  <c:v>159.88499999999999</c:v>
                </c:pt>
                <c:pt idx="3261">
                  <c:v>159.88499999999999</c:v>
                </c:pt>
                <c:pt idx="3262">
                  <c:v>159.126</c:v>
                </c:pt>
                <c:pt idx="3263">
                  <c:v>159.126</c:v>
                </c:pt>
                <c:pt idx="3264">
                  <c:v>159.126</c:v>
                </c:pt>
                <c:pt idx="3265">
                  <c:v>165.19499999999999</c:v>
                </c:pt>
                <c:pt idx="3266">
                  <c:v>163.488</c:v>
                </c:pt>
                <c:pt idx="3267">
                  <c:v>165.76400000000001</c:v>
                </c:pt>
                <c:pt idx="3268">
                  <c:v>161.21199999999999</c:v>
                </c:pt>
                <c:pt idx="3269">
                  <c:v>161.21199999999999</c:v>
                </c:pt>
                <c:pt idx="3270">
                  <c:v>161.21199999999999</c:v>
                </c:pt>
                <c:pt idx="3271">
                  <c:v>161.21199999999999</c:v>
                </c:pt>
                <c:pt idx="3272">
                  <c:v>160.26400000000001</c:v>
                </c:pt>
                <c:pt idx="3273">
                  <c:v>161.023</c:v>
                </c:pt>
                <c:pt idx="3274">
                  <c:v>163.10900000000001</c:v>
                </c:pt>
                <c:pt idx="3275">
                  <c:v>162.91900000000001</c:v>
                </c:pt>
                <c:pt idx="3276">
                  <c:v>161.59200000000001</c:v>
                </c:pt>
                <c:pt idx="3277">
                  <c:v>161.59200000000001</c:v>
                </c:pt>
                <c:pt idx="3278">
                  <c:v>161.59200000000001</c:v>
                </c:pt>
                <c:pt idx="3279">
                  <c:v>158.178</c:v>
                </c:pt>
                <c:pt idx="3280">
                  <c:v>157.988</c:v>
                </c:pt>
                <c:pt idx="3281">
                  <c:v>158.36799999999999</c:v>
                </c:pt>
                <c:pt idx="3282">
                  <c:v>158.74700000000001</c:v>
                </c:pt>
                <c:pt idx="3283">
                  <c:v>159.88499999999999</c:v>
                </c:pt>
                <c:pt idx="3284">
                  <c:v>159.88499999999999</c:v>
                </c:pt>
                <c:pt idx="3285">
                  <c:v>159.88499999999999</c:v>
                </c:pt>
                <c:pt idx="3286">
                  <c:v>161.21199999999999</c:v>
                </c:pt>
                <c:pt idx="3287">
                  <c:v>161.21199999999999</c:v>
                </c:pt>
                <c:pt idx="3288">
                  <c:v>162.54</c:v>
                </c:pt>
                <c:pt idx="3289">
                  <c:v>161.21199999999999</c:v>
                </c:pt>
                <c:pt idx="3290">
                  <c:v>159.126</c:v>
                </c:pt>
                <c:pt idx="3291">
                  <c:v>159.126</c:v>
                </c:pt>
                <c:pt idx="3292">
                  <c:v>159.126</c:v>
                </c:pt>
                <c:pt idx="3293">
                  <c:v>160.45400000000001</c:v>
                </c:pt>
                <c:pt idx="3294">
                  <c:v>156.471</c:v>
                </c:pt>
                <c:pt idx="3295">
                  <c:v>157.04</c:v>
                </c:pt>
                <c:pt idx="3296">
                  <c:v>155.333</c:v>
                </c:pt>
                <c:pt idx="3297">
                  <c:v>153.626</c:v>
                </c:pt>
                <c:pt idx="3298">
                  <c:v>153.626</c:v>
                </c:pt>
                <c:pt idx="3299">
                  <c:v>153.626</c:v>
                </c:pt>
                <c:pt idx="3300">
                  <c:v>156.661</c:v>
                </c:pt>
                <c:pt idx="3301">
                  <c:v>156.09200000000001</c:v>
                </c:pt>
                <c:pt idx="3302">
                  <c:v>154.95400000000001</c:v>
                </c:pt>
                <c:pt idx="3303">
                  <c:v>152.298</c:v>
                </c:pt>
                <c:pt idx="3304">
                  <c:v>153.05699999999999</c:v>
                </c:pt>
                <c:pt idx="3305">
                  <c:v>153.05699999999999</c:v>
                </c:pt>
                <c:pt idx="3306">
                  <c:v>153.05699999999999</c:v>
                </c:pt>
                <c:pt idx="3307">
                  <c:v>151.72900000000001</c:v>
                </c:pt>
                <c:pt idx="3308">
                  <c:v>151.54</c:v>
                </c:pt>
                <c:pt idx="3309">
                  <c:v>147.55699999999999</c:v>
                </c:pt>
                <c:pt idx="3310">
                  <c:v>146.04</c:v>
                </c:pt>
                <c:pt idx="3311">
                  <c:v>149.643</c:v>
                </c:pt>
                <c:pt idx="3312">
                  <c:v>149.643</c:v>
                </c:pt>
                <c:pt idx="3313">
                  <c:v>149.643</c:v>
                </c:pt>
                <c:pt idx="3314">
                  <c:v>146.04</c:v>
                </c:pt>
                <c:pt idx="3315">
                  <c:v>143.19499999999999</c:v>
                </c:pt>
                <c:pt idx="3316">
                  <c:v>143.19499999999999</c:v>
                </c:pt>
                <c:pt idx="3317">
                  <c:v>145.85</c:v>
                </c:pt>
                <c:pt idx="3318">
                  <c:v>146.988</c:v>
                </c:pt>
                <c:pt idx="3319">
                  <c:v>146.988</c:v>
                </c:pt>
                <c:pt idx="3320">
                  <c:v>146.988</c:v>
                </c:pt>
                <c:pt idx="3321">
                  <c:v>148.126</c:v>
                </c:pt>
                <c:pt idx="3322">
                  <c:v>142.24600000000001</c:v>
                </c:pt>
                <c:pt idx="3323">
                  <c:v>146.988</c:v>
                </c:pt>
                <c:pt idx="3324">
                  <c:v>149.833</c:v>
                </c:pt>
                <c:pt idx="3325">
                  <c:v>154.76400000000001</c:v>
                </c:pt>
                <c:pt idx="3326">
                  <c:v>154.76400000000001</c:v>
                </c:pt>
                <c:pt idx="3327">
                  <c:v>154.76400000000001</c:v>
                </c:pt>
                <c:pt idx="3328">
                  <c:v>153.05699999999999</c:v>
                </c:pt>
                <c:pt idx="3329">
                  <c:v>153.05699999999999</c:v>
                </c:pt>
                <c:pt idx="3330">
                  <c:v>155.71199999999999</c:v>
                </c:pt>
                <c:pt idx="3331">
                  <c:v>157.79900000000001</c:v>
                </c:pt>
                <c:pt idx="3332">
                  <c:v>165.95400000000001</c:v>
                </c:pt>
                <c:pt idx="3333">
                  <c:v>165.95400000000001</c:v>
                </c:pt>
                <c:pt idx="3334">
                  <c:v>165.95400000000001</c:v>
                </c:pt>
                <c:pt idx="3335">
                  <c:v>165.47</c:v>
                </c:pt>
                <c:pt idx="3336">
                  <c:v>165.083</c:v>
                </c:pt>
                <c:pt idx="3337">
                  <c:v>167.98599999999999</c:v>
                </c:pt>
                <c:pt idx="3338">
                  <c:v>167.405</c:v>
                </c:pt>
                <c:pt idx="3339">
                  <c:v>165.857</c:v>
                </c:pt>
                <c:pt idx="3340">
                  <c:v>165.857</c:v>
                </c:pt>
                <c:pt idx="3341">
                  <c:v>165.857</c:v>
                </c:pt>
                <c:pt idx="3342">
                  <c:v>164.11500000000001</c:v>
                </c:pt>
                <c:pt idx="3343">
                  <c:v>161.21199999999999</c:v>
                </c:pt>
                <c:pt idx="3344">
                  <c:v>161.21199999999999</c:v>
                </c:pt>
                <c:pt idx="3345">
                  <c:v>161.21199999999999</c:v>
                </c:pt>
                <c:pt idx="3346">
                  <c:v>161.6</c:v>
                </c:pt>
                <c:pt idx="3347">
                  <c:v>161.6</c:v>
                </c:pt>
                <c:pt idx="3348">
                  <c:v>161.6</c:v>
                </c:pt>
                <c:pt idx="3349">
                  <c:v>163.34100000000001</c:v>
                </c:pt>
                <c:pt idx="3350">
                  <c:v>163.922</c:v>
                </c:pt>
                <c:pt idx="3351">
                  <c:v>164.89</c:v>
                </c:pt>
                <c:pt idx="3352">
                  <c:v>163.922</c:v>
                </c:pt>
                <c:pt idx="3353">
                  <c:v>164.50200000000001</c:v>
                </c:pt>
                <c:pt idx="3354">
                  <c:v>164.50200000000001</c:v>
                </c:pt>
                <c:pt idx="3355">
                  <c:v>164.50200000000001</c:v>
                </c:pt>
                <c:pt idx="3356">
                  <c:v>164.309</c:v>
                </c:pt>
                <c:pt idx="3357">
                  <c:v>163.535</c:v>
                </c:pt>
                <c:pt idx="3358">
                  <c:v>164.309</c:v>
                </c:pt>
                <c:pt idx="3359">
                  <c:v>164.309</c:v>
                </c:pt>
                <c:pt idx="3360">
                  <c:v>163.148</c:v>
                </c:pt>
                <c:pt idx="3361">
                  <c:v>163.148</c:v>
                </c:pt>
                <c:pt idx="3362">
                  <c:v>163.148</c:v>
                </c:pt>
                <c:pt idx="3363">
                  <c:v>161.79300000000001</c:v>
                </c:pt>
                <c:pt idx="3364">
                  <c:v>161.98699999999999</c:v>
                </c:pt>
                <c:pt idx="3365">
                  <c:v>162.761</c:v>
                </c:pt>
                <c:pt idx="3366">
                  <c:v>163.148</c:v>
                </c:pt>
                <c:pt idx="3367">
                  <c:v>163.535</c:v>
                </c:pt>
                <c:pt idx="3368">
                  <c:v>163.535</c:v>
                </c:pt>
                <c:pt idx="3369">
                  <c:v>163.535</c:v>
                </c:pt>
                <c:pt idx="3370">
                  <c:v>163.535</c:v>
                </c:pt>
                <c:pt idx="3371">
                  <c:v>163.34100000000001</c:v>
                </c:pt>
                <c:pt idx="3372">
                  <c:v>164.696</c:v>
                </c:pt>
                <c:pt idx="3373">
                  <c:v>164.696</c:v>
                </c:pt>
                <c:pt idx="3374">
                  <c:v>164.696</c:v>
                </c:pt>
                <c:pt idx="3375">
                  <c:v>164.696</c:v>
                </c:pt>
                <c:pt idx="3376">
                  <c:v>164.696</c:v>
                </c:pt>
                <c:pt idx="3377">
                  <c:v>167.405</c:v>
                </c:pt>
                <c:pt idx="3378">
                  <c:v>169.34100000000001</c:v>
                </c:pt>
                <c:pt idx="3379">
                  <c:v>169.92099999999999</c:v>
                </c:pt>
                <c:pt idx="3380">
                  <c:v>169.92099999999999</c:v>
                </c:pt>
                <c:pt idx="3381">
                  <c:v>169.92099999999999</c:v>
                </c:pt>
                <c:pt idx="3382">
                  <c:v>169.92099999999999</c:v>
                </c:pt>
                <c:pt idx="3383">
                  <c:v>169.92099999999999</c:v>
                </c:pt>
                <c:pt idx="3384">
                  <c:v>166.244</c:v>
                </c:pt>
                <c:pt idx="3385">
                  <c:v>163.34100000000001</c:v>
                </c:pt>
                <c:pt idx="3386">
                  <c:v>164.89</c:v>
                </c:pt>
                <c:pt idx="3387">
                  <c:v>164.309</c:v>
                </c:pt>
                <c:pt idx="3388">
                  <c:v>163.72800000000001</c:v>
                </c:pt>
                <c:pt idx="3389">
                  <c:v>163.72800000000001</c:v>
                </c:pt>
                <c:pt idx="3390">
                  <c:v>163.72800000000001</c:v>
                </c:pt>
                <c:pt idx="3391">
                  <c:v>163.148</c:v>
                </c:pt>
                <c:pt idx="3392">
                  <c:v>163.72800000000001</c:v>
                </c:pt>
                <c:pt idx="3393">
                  <c:v>163.72800000000001</c:v>
                </c:pt>
                <c:pt idx="3394">
                  <c:v>164.11500000000001</c:v>
                </c:pt>
                <c:pt idx="3395">
                  <c:v>164.50200000000001</c:v>
                </c:pt>
                <c:pt idx="3396">
                  <c:v>164.50200000000001</c:v>
                </c:pt>
                <c:pt idx="3397">
                  <c:v>164.50200000000001</c:v>
                </c:pt>
                <c:pt idx="3398">
                  <c:v>163.148</c:v>
                </c:pt>
                <c:pt idx="3399">
                  <c:v>168.18</c:v>
                </c:pt>
                <c:pt idx="3400">
                  <c:v>169.14699999999999</c:v>
                </c:pt>
                <c:pt idx="3401">
                  <c:v>166.43799999999999</c:v>
                </c:pt>
                <c:pt idx="3402">
                  <c:v>168.76</c:v>
                </c:pt>
                <c:pt idx="3403">
                  <c:v>168.76</c:v>
                </c:pt>
                <c:pt idx="3404">
                  <c:v>168.76</c:v>
                </c:pt>
                <c:pt idx="3405">
                  <c:v>166.82499999999999</c:v>
                </c:pt>
                <c:pt idx="3406">
                  <c:v>163.148</c:v>
                </c:pt>
                <c:pt idx="3407">
                  <c:v>159.27699999999999</c:v>
                </c:pt>
                <c:pt idx="3408">
                  <c:v>162.56700000000001</c:v>
                </c:pt>
                <c:pt idx="3409">
                  <c:v>160.63200000000001</c:v>
                </c:pt>
                <c:pt idx="3410">
                  <c:v>160.63200000000001</c:v>
                </c:pt>
                <c:pt idx="3411">
                  <c:v>160.63200000000001</c:v>
                </c:pt>
                <c:pt idx="3412">
                  <c:v>164.696</c:v>
                </c:pt>
                <c:pt idx="3413">
                  <c:v>164.50200000000001</c:v>
                </c:pt>
                <c:pt idx="3414">
                  <c:v>165.27699999999999</c:v>
                </c:pt>
                <c:pt idx="3415">
                  <c:v>167.018</c:v>
                </c:pt>
                <c:pt idx="3416">
                  <c:v>166.05099999999999</c:v>
                </c:pt>
                <c:pt idx="3417">
                  <c:v>166.05099999999999</c:v>
                </c:pt>
                <c:pt idx="3418">
                  <c:v>166.05099999999999</c:v>
                </c:pt>
                <c:pt idx="3419">
                  <c:v>163.72800000000001</c:v>
                </c:pt>
                <c:pt idx="3420">
                  <c:v>165.857</c:v>
                </c:pt>
                <c:pt idx="3421">
                  <c:v>166.631</c:v>
                </c:pt>
                <c:pt idx="3422">
                  <c:v>165.47</c:v>
                </c:pt>
                <c:pt idx="3423">
                  <c:v>173.98599999999999</c:v>
                </c:pt>
                <c:pt idx="3424">
                  <c:v>173.98599999999999</c:v>
                </c:pt>
                <c:pt idx="3425">
                  <c:v>173.98599999999999</c:v>
                </c:pt>
                <c:pt idx="3426">
                  <c:v>173.405</c:v>
                </c:pt>
                <c:pt idx="3427">
                  <c:v>173.21100000000001</c:v>
                </c:pt>
                <c:pt idx="3428">
                  <c:v>169.92099999999999</c:v>
                </c:pt>
                <c:pt idx="3429">
                  <c:v>167.79300000000001</c:v>
                </c:pt>
                <c:pt idx="3430">
                  <c:v>173.21100000000001</c:v>
                </c:pt>
                <c:pt idx="3431">
                  <c:v>173.21100000000001</c:v>
                </c:pt>
                <c:pt idx="3432">
                  <c:v>173.21100000000001</c:v>
                </c:pt>
                <c:pt idx="3433">
                  <c:v>172.43700000000001</c:v>
                </c:pt>
                <c:pt idx="3434">
                  <c:v>172.244</c:v>
                </c:pt>
                <c:pt idx="3435">
                  <c:v>169.34100000000001</c:v>
                </c:pt>
                <c:pt idx="3436">
                  <c:v>170.696</c:v>
                </c:pt>
                <c:pt idx="3437">
                  <c:v>169.14699999999999</c:v>
                </c:pt>
                <c:pt idx="3438">
                  <c:v>169.14699999999999</c:v>
                </c:pt>
                <c:pt idx="3439">
                  <c:v>169.14699999999999</c:v>
                </c:pt>
                <c:pt idx="3440">
                  <c:v>173.018</c:v>
                </c:pt>
                <c:pt idx="3441">
                  <c:v>172.05</c:v>
                </c:pt>
                <c:pt idx="3442">
                  <c:v>174.179</c:v>
                </c:pt>
                <c:pt idx="3443">
                  <c:v>173.59899999999999</c:v>
                </c:pt>
                <c:pt idx="3444">
                  <c:v>171.857</c:v>
                </c:pt>
                <c:pt idx="3445">
                  <c:v>171.857</c:v>
                </c:pt>
                <c:pt idx="3446">
                  <c:v>171.857</c:v>
                </c:pt>
                <c:pt idx="3447">
                  <c:v>171.66300000000001</c:v>
                </c:pt>
                <c:pt idx="3448">
                  <c:v>173.98599999999999</c:v>
                </c:pt>
                <c:pt idx="3449">
                  <c:v>176.114</c:v>
                </c:pt>
                <c:pt idx="3450">
                  <c:v>177.46899999999999</c:v>
                </c:pt>
                <c:pt idx="3451">
                  <c:v>176.88900000000001</c:v>
                </c:pt>
                <c:pt idx="3452">
                  <c:v>176.88900000000001</c:v>
                </c:pt>
                <c:pt idx="3453">
                  <c:v>176.88900000000001</c:v>
                </c:pt>
                <c:pt idx="3454">
                  <c:v>177.46899999999999</c:v>
                </c:pt>
                <c:pt idx="3455">
                  <c:v>175.34</c:v>
                </c:pt>
                <c:pt idx="3456">
                  <c:v>176.501</c:v>
                </c:pt>
                <c:pt idx="3457">
                  <c:v>176.501</c:v>
                </c:pt>
                <c:pt idx="3458">
                  <c:v>171.27600000000001</c:v>
                </c:pt>
                <c:pt idx="3459">
                  <c:v>171.27600000000001</c:v>
                </c:pt>
                <c:pt idx="3460">
                  <c:v>171.27600000000001</c:v>
                </c:pt>
                <c:pt idx="3461">
                  <c:v>170.11500000000001</c:v>
                </c:pt>
                <c:pt idx="3462">
                  <c:v>170.696</c:v>
                </c:pt>
                <c:pt idx="3463">
                  <c:v>170.696</c:v>
                </c:pt>
                <c:pt idx="3464">
                  <c:v>171.27600000000001</c:v>
                </c:pt>
                <c:pt idx="3465">
                  <c:v>170.88900000000001</c:v>
                </c:pt>
                <c:pt idx="3466">
                  <c:v>170.88900000000001</c:v>
                </c:pt>
                <c:pt idx="3467">
                  <c:v>170.88900000000001</c:v>
                </c:pt>
                <c:pt idx="3468">
                  <c:v>172.05</c:v>
                </c:pt>
                <c:pt idx="3469">
                  <c:v>170.30799999999999</c:v>
                </c:pt>
                <c:pt idx="3470">
                  <c:v>170.50200000000001</c:v>
                </c:pt>
                <c:pt idx="3471">
                  <c:v>170.50200000000001</c:v>
                </c:pt>
                <c:pt idx="3472">
                  <c:v>170.50200000000001</c:v>
                </c:pt>
                <c:pt idx="3473">
                  <c:v>170.50200000000001</c:v>
                </c:pt>
                <c:pt idx="3474">
                  <c:v>170.50200000000001</c:v>
                </c:pt>
                <c:pt idx="3475">
                  <c:v>170.50200000000001</c:v>
                </c:pt>
                <c:pt idx="3476">
                  <c:v>173.405</c:v>
                </c:pt>
                <c:pt idx="3477">
                  <c:v>179.017</c:v>
                </c:pt>
                <c:pt idx="3478">
                  <c:v>182.501</c:v>
                </c:pt>
                <c:pt idx="3479">
                  <c:v>182.30699999999999</c:v>
                </c:pt>
                <c:pt idx="3480">
                  <c:v>182.30699999999999</c:v>
                </c:pt>
                <c:pt idx="3481">
                  <c:v>182.30699999999999</c:v>
                </c:pt>
                <c:pt idx="3482">
                  <c:v>182.30699999999999</c:v>
                </c:pt>
                <c:pt idx="3483">
                  <c:v>186.565</c:v>
                </c:pt>
                <c:pt idx="3484">
                  <c:v>187.339</c:v>
                </c:pt>
                <c:pt idx="3485">
                  <c:v>186.952</c:v>
                </c:pt>
                <c:pt idx="3486">
                  <c:v>189.66200000000001</c:v>
                </c:pt>
                <c:pt idx="3487">
                  <c:v>189.66200000000001</c:v>
                </c:pt>
                <c:pt idx="3488">
                  <c:v>189.66200000000001</c:v>
                </c:pt>
                <c:pt idx="3489">
                  <c:v>188.5</c:v>
                </c:pt>
                <c:pt idx="3490">
                  <c:v>187.92</c:v>
                </c:pt>
                <c:pt idx="3491">
                  <c:v>189.66200000000001</c:v>
                </c:pt>
                <c:pt idx="3492">
                  <c:v>192.178</c:v>
                </c:pt>
                <c:pt idx="3493">
                  <c:v>191.791</c:v>
                </c:pt>
                <c:pt idx="3494">
                  <c:v>191.791</c:v>
                </c:pt>
                <c:pt idx="3495">
                  <c:v>191.791</c:v>
                </c:pt>
                <c:pt idx="3496">
                  <c:v>191.59700000000001</c:v>
                </c:pt>
                <c:pt idx="3497">
                  <c:v>190.62899999999999</c:v>
                </c:pt>
                <c:pt idx="3498">
                  <c:v>191.01599999999999</c:v>
                </c:pt>
                <c:pt idx="3499">
                  <c:v>195.46799999999999</c:v>
                </c:pt>
                <c:pt idx="3500">
                  <c:v>195.95099999999999</c:v>
                </c:pt>
                <c:pt idx="3501">
                  <c:v>195.95099999999999</c:v>
                </c:pt>
                <c:pt idx="3502">
                  <c:v>195.95099999999999</c:v>
                </c:pt>
                <c:pt idx="3503">
                  <c:v>196.91900000000001</c:v>
                </c:pt>
                <c:pt idx="3504">
                  <c:v>195.95099999999999</c:v>
                </c:pt>
                <c:pt idx="3505">
                  <c:v>194.01599999999999</c:v>
                </c:pt>
                <c:pt idx="3506">
                  <c:v>193.53200000000001</c:v>
                </c:pt>
                <c:pt idx="3507">
                  <c:v>193.53200000000001</c:v>
                </c:pt>
                <c:pt idx="3508">
                  <c:v>193.53200000000001</c:v>
                </c:pt>
                <c:pt idx="3509">
                  <c:v>193.53200000000001</c:v>
                </c:pt>
                <c:pt idx="3510">
                  <c:v>194.98400000000001</c:v>
                </c:pt>
                <c:pt idx="3511">
                  <c:v>194.5</c:v>
                </c:pt>
                <c:pt idx="3512">
                  <c:v>195.2</c:v>
                </c:pt>
                <c:pt idx="3513">
                  <c:v>195.2</c:v>
                </c:pt>
                <c:pt idx="3514">
                  <c:v>192</c:v>
                </c:pt>
                <c:pt idx="3515">
                  <c:v>192</c:v>
                </c:pt>
                <c:pt idx="3516">
                  <c:v>192</c:v>
                </c:pt>
                <c:pt idx="3517">
                  <c:v>192</c:v>
                </c:pt>
                <c:pt idx="3518">
                  <c:v>191.4</c:v>
                </c:pt>
                <c:pt idx="3519">
                  <c:v>192.6</c:v>
                </c:pt>
                <c:pt idx="3520">
                  <c:v>190.4</c:v>
                </c:pt>
                <c:pt idx="3521">
                  <c:v>192</c:v>
                </c:pt>
                <c:pt idx="3522">
                  <c:v>192</c:v>
                </c:pt>
                <c:pt idx="3523">
                  <c:v>192</c:v>
                </c:pt>
                <c:pt idx="3524">
                  <c:v>192</c:v>
                </c:pt>
                <c:pt idx="3525">
                  <c:v>192.4</c:v>
                </c:pt>
                <c:pt idx="3526">
                  <c:v>195</c:v>
                </c:pt>
                <c:pt idx="3527">
                  <c:v>196</c:v>
                </c:pt>
                <c:pt idx="3528">
                  <c:v>196</c:v>
                </c:pt>
                <c:pt idx="3529">
                  <c:v>196</c:v>
                </c:pt>
                <c:pt idx="3530">
                  <c:v>196</c:v>
                </c:pt>
                <c:pt idx="3531">
                  <c:v>195</c:v>
                </c:pt>
                <c:pt idx="3532">
                  <c:v>195.2</c:v>
                </c:pt>
                <c:pt idx="3533">
                  <c:v>191.8</c:v>
                </c:pt>
                <c:pt idx="3534">
                  <c:v>193.4</c:v>
                </c:pt>
                <c:pt idx="3535">
                  <c:v>194</c:v>
                </c:pt>
                <c:pt idx="3536">
                  <c:v>194</c:v>
                </c:pt>
                <c:pt idx="3537">
                  <c:v>194</c:v>
                </c:pt>
                <c:pt idx="3538">
                  <c:v>193.6</c:v>
                </c:pt>
                <c:pt idx="3539">
                  <c:v>192.8</c:v>
                </c:pt>
                <c:pt idx="3540">
                  <c:v>194</c:v>
                </c:pt>
                <c:pt idx="3541">
                  <c:v>194.2</c:v>
                </c:pt>
                <c:pt idx="3542">
                  <c:v>194</c:v>
                </c:pt>
                <c:pt idx="3543">
                  <c:v>194</c:v>
                </c:pt>
                <c:pt idx="3544">
                  <c:v>194</c:v>
                </c:pt>
                <c:pt idx="3545">
                  <c:v>193.2</c:v>
                </c:pt>
                <c:pt idx="3546">
                  <c:v>193.2</c:v>
                </c:pt>
                <c:pt idx="3547">
                  <c:v>193.4</c:v>
                </c:pt>
                <c:pt idx="3548">
                  <c:v>192.8</c:v>
                </c:pt>
                <c:pt idx="3549">
                  <c:v>192.2</c:v>
                </c:pt>
                <c:pt idx="3550">
                  <c:v>192.2</c:v>
                </c:pt>
                <c:pt idx="3551">
                  <c:v>192.2</c:v>
                </c:pt>
                <c:pt idx="3552">
                  <c:v>190</c:v>
                </c:pt>
                <c:pt idx="3553">
                  <c:v>188.4</c:v>
                </c:pt>
                <c:pt idx="3554">
                  <c:v>189.8</c:v>
                </c:pt>
                <c:pt idx="3555">
                  <c:v>190.6</c:v>
                </c:pt>
                <c:pt idx="3556">
                  <c:v>191.4</c:v>
                </c:pt>
                <c:pt idx="3557">
                  <c:v>191.4</c:v>
                </c:pt>
                <c:pt idx="3558">
                  <c:v>191.4</c:v>
                </c:pt>
                <c:pt idx="3559">
                  <c:v>192</c:v>
                </c:pt>
                <c:pt idx="3560">
                  <c:v>192</c:v>
                </c:pt>
                <c:pt idx="3561">
                  <c:v>189.8</c:v>
                </c:pt>
                <c:pt idx="3562">
                  <c:v>186.4</c:v>
                </c:pt>
                <c:pt idx="3563">
                  <c:v>190</c:v>
                </c:pt>
                <c:pt idx="3564">
                  <c:v>190</c:v>
                </c:pt>
                <c:pt idx="3565">
                  <c:v>190</c:v>
                </c:pt>
                <c:pt idx="3566">
                  <c:v>187.6</c:v>
                </c:pt>
                <c:pt idx="3567">
                  <c:v>186</c:v>
                </c:pt>
                <c:pt idx="3568">
                  <c:v>189</c:v>
                </c:pt>
                <c:pt idx="3569">
                  <c:v>188.4</c:v>
                </c:pt>
                <c:pt idx="3570">
                  <c:v>186.6</c:v>
                </c:pt>
                <c:pt idx="3571">
                  <c:v>186.6</c:v>
                </c:pt>
                <c:pt idx="3572">
                  <c:v>186.6</c:v>
                </c:pt>
                <c:pt idx="3573">
                  <c:v>188</c:v>
                </c:pt>
                <c:pt idx="3574">
                  <c:v>187.4</c:v>
                </c:pt>
                <c:pt idx="3575">
                  <c:v>187.6</c:v>
                </c:pt>
                <c:pt idx="3576">
                  <c:v>188.4</c:v>
                </c:pt>
                <c:pt idx="3577">
                  <c:v>186.6</c:v>
                </c:pt>
                <c:pt idx="3578">
                  <c:v>186.6</c:v>
                </c:pt>
                <c:pt idx="3579">
                  <c:v>186.6</c:v>
                </c:pt>
                <c:pt idx="3580">
                  <c:v>184.6</c:v>
                </c:pt>
                <c:pt idx="3581">
                  <c:v>184</c:v>
                </c:pt>
                <c:pt idx="3582">
                  <c:v>184.2</c:v>
                </c:pt>
                <c:pt idx="3583">
                  <c:v>185</c:v>
                </c:pt>
                <c:pt idx="3584">
                  <c:v>186.4</c:v>
                </c:pt>
                <c:pt idx="3585">
                  <c:v>186.4</c:v>
                </c:pt>
                <c:pt idx="3586">
                  <c:v>186.4</c:v>
                </c:pt>
                <c:pt idx="3587">
                  <c:v>189</c:v>
                </c:pt>
                <c:pt idx="3588">
                  <c:v>190.6</c:v>
                </c:pt>
                <c:pt idx="3589">
                  <c:v>187.4</c:v>
                </c:pt>
                <c:pt idx="3590">
                  <c:v>187.4</c:v>
                </c:pt>
                <c:pt idx="3591">
                  <c:v>186.8</c:v>
                </c:pt>
                <c:pt idx="3592">
                  <c:v>186.8</c:v>
                </c:pt>
                <c:pt idx="3593">
                  <c:v>186.8</c:v>
                </c:pt>
                <c:pt idx="3594">
                  <c:v>186.4</c:v>
                </c:pt>
                <c:pt idx="3595">
                  <c:v>185.2</c:v>
                </c:pt>
                <c:pt idx="3596">
                  <c:v>185.2</c:v>
                </c:pt>
                <c:pt idx="3597">
                  <c:v>185</c:v>
                </c:pt>
                <c:pt idx="3598">
                  <c:v>185.6</c:v>
                </c:pt>
                <c:pt idx="3599">
                  <c:v>185.6</c:v>
                </c:pt>
                <c:pt idx="3600">
                  <c:v>185.6</c:v>
                </c:pt>
                <c:pt idx="3601">
                  <c:v>186</c:v>
                </c:pt>
                <c:pt idx="3602">
                  <c:v>185.2</c:v>
                </c:pt>
                <c:pt idx="3603">
                  <c:v>184.4</c:v>
                </c:pt>
                <c:pt idx="3604">
                  <c:v>185.2</c:v>
                </c:pt>
                <c:pt idx="3605">
                  <c:v>186.2</c:v>
                </c:pt>
                <c:pt idx="3606">
                  <c:v>186.2</c:v>
                </c:pt>
                <c:pt idx="3607">
                  <c:v>186.2</c:v>
                </c:pt>
                <c:pt idx="3608">
                  <c:v>188.4</c:v>
                </c:pt>
                <c:pt idx="3609">
                  <c:v>190</c:v>
                </c:pt>
                <c:pt idx="3610">
                  <c:v>188.8</c:v>
                </c:pt>
                <c:pt idx="3611">
                  <c:v>189</c:v>
                </c:pt>
                <c:pt idx="3612">
                  <c:v>188.8</c:v>
                </c:pt>
                <c:pt idx="3613">
                  <c:v>188.8</c:v>
                </c:pt>
                <c:pt idx="3614">
                  <c:v>188.8</c:v>
                </c:pt>
                <c:pt idx="3615">
                  <c:v>186.6</c:v>
                </c:pt>
                <c:pt idx="3616">
                  <c:v>183</c:v>
                </c:pt>
                <c:pt idx="3617">
                  <c:v>183.2</c:v>
                </c:pt>
                <c:pt idx="3618">
                  <c:v>182</c:v>
                </c:pt>
                <c:pt idx="3619">
                  <c:v>188</c:v>
                </c:pt>
                <c:pt idx="3620">
                  <c:v>188</c:v>
                </c:pt>
                <c:pt idx="3621">
                  <c:v>188</c:v>
                </c:pt>
                <c:pt idx="3622">
                  <c:v>191.8</c:v>
                </c:pt>
                <c:pt idx="3623">
                  <c:v>193.6</c:v>
                </c:pt>
                <c:pt idx="3624">
                  <c:v>193.8</c:v>
                </c:pt>
                <c:pt idx="3625">
                  <c:v>193</c:v>
                </c:pt>
                <c:pt idx="3626">
                  <c:v>192.8</c:v>
                </c:pt>
                <c:pt idx="3627">
                  <c:v>192.8</c:v>
                </c:pt>
                <c:pt idx="3628">
                  <c:v>192.8</c:v>
                </c:pt>
                <c:pt idx="3629">
                  <c:v>193.8</c:v>
                </c:pt>
                <c:pt idx="3630">
                  <c:v>195.4</c:v>
                </c:pt>
                <c:pt idx="3631">
                  <c:v>194.8</c:v>
                </c:pt>
                <c:pt idx="3632">
                  <c:v>193.4</c:v>
                </c:pt>
                <c:pt idx="3633">
                  <c:v>190.4</c:v>
                </c:pt>
                <c:pt idx="3634">
                  <c:v>190.4</c:v>
                </c:pt>
                <c:pt idx="3635">
                  <c:v>190.4</c:v>
                </c:pt>
                <c:pt idx="3636">
                  <c:v>188.6</c:v>
                </c:pt>
                <c:pt idx="3637">
                  <c:v>184.4</c:v>
                </c:pt>
                <c:pt idx="3638">
                  <c:v>186.2</c:v>
                </c:pt>
                <c:pt idx="3639">
                  <c:v>186</c:v>
                </c:pt>
                <c:pt idx="3640">
                  <c:v>174</c:v>
                </c:pt>
                <c:pt idx="3641">
                  <c:v>174</c:v>
                </c:pt>
                <c:pt idx="3642">
                  <c:v>174</c:v>
                </c:pt>
                <c:pt idx="3643">
                  <c:v>182.2</c:v>
                </c:pt>
                <c:pt idx="3644">
                  <c:v>179</c:v>
                </c:pt>
                <c:pt idx="3645">
                  <c:v>183.4</c:v>
                </c:pt>
                <c:pt idx="3646">
                  <c:v>184.8</c:v>
                </c:pt>
                <c:pt idx="3647">
                  <c:v>184</c:v>
                </c:pt>
                <c:pt idx="3648">
                  <c:v>184</c:v>
                </c:pt>
                <c:pt idx="3649">
                  <c:v>184</c:v>
                </c:pt>
                <c:pt idx="3650">
                  <c:v>185.4</c:v>
                </c:pt>
                <c:pt idx="3651">
                  <c:v>184.2</c:v>
                </c:pt>
                <c:pt idx="3652">
                  <c:v>183.6</c:v>
                </c:pt>
                <c:pt idx="3653">
                  <c:v>184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DEF-4600-951A-C0E2B8567B31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Oslo Børs (OSEBX)</c:v>
                </c:pt>
              </c:strCache>
            </c:strRef>
          </c:tx>
          <c:spPr>
            <a:ln w="22225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Ark1'!$A$2:$A$3655</c:f>
              <c:numCache>
                <c:formatCode>m/d/yyyy</c:formatCode>
                <c:ptCount val="3654"/>
                <c:pt idx="0">
                  <c:v>40816</c:v>
                </c:pt>
                <c:pt idx="1">
                  <c:v>40817</c:v>
                </c:pt>
                <c:pt idx="2">
                  <c:v>40818</c:v>
                </c:pt>
                <c:pt idx="3">
                  <c:v>40819</c:v>
                </c:pt>
                <c:pt idx="4">
                  <c:v>40820</c:v>
                </c:pt>
                <c:pt idx="5">
                  <c:v>40821</c:v>
                </c:pt>
                <c:pt idx="6">
                  <c:v>40822</c:v>
                </c:pt>
                <c:pt idx="7">
                  <c:v>40823</c:v>
                </c:pt>
                <c:pt idx="8">
                  <c:v>40824</c:v>
                </c:pt>
                <c:pt idx="9">
                  <c:v>40825</c:v>
                </c:pt>
                <c:pt idx="10">
                  <c:v>40826</c:v>
                </c:pt>
                <c:pt idx="11">
                  <c:v>40827</c:v>
                </c:pt>
                <c:pt idx="12">
                  <c:v>40828</c:v>
                </c:pt>
                <c:pt idx="13">
                  <c:v>40829</c:v>
                </c:pt>
                <c:pt idx="14">
                  <c:v>40830</c:v>
                </c:pt>
                <c:pt idx="15">
                  <c:v>40831</c:v>
                </c:pt>
                <c:pt idx="16">
                  <c:v>40832</c:v>
                </c:pt>
                <c:pt idx="17">
                  <c:v>40833</c:v>
                </c:pt>
                <c:pt idx="18">
                  <c:v>40834</c:v>
                </c:pt>
                <c:pt idx="19">
                  <c:v>40835</c:v>
                </c:pt>
                <c:pt idx="20">
                  <c:v>40836</c:v>
                </c:pt>
                <c:pt idx="21">
                  <c:v>40837</c:v>
                </c:pt>
                <c:pt idx="22">
                  <c:v>40838</c:v>
                </c:pt>
                <c:pt idx="23">
                  <c:v>40839</c:v>
                </c:pt>
                <c:pt idx="24">
                  <c:v>40840</c:v>
                </c:pt>
                <c:pt idx="25">
                  <c:v>40841</c:v>
                </c:pt>
                <c:pt idx="26">
                  <c:v>40842</c:v>
                </c:pt>
                <c:pt idx="27">
                  <c:v>40843</c:v>
                </c:pt>
                <c:pt idx="28">
                  <c:v>40844</c:v>
                </c:pt>
                <c:pt idx="29">
                  <c:v>40845</c:v>
                </c:pt>
                <c:pt idx="30">
                  <c:v>40846</c:v>
                </c:pt>
                <c:pt idx="31">
                  <c:v>40847</c:v>
                </c:pt>
                <c:pt idx="32">
                  <c:v>40848</c:v>
                </c:pt>
                <c:pt idx="33">
                  <c:v>40849</c:v>
                </c:pt>
                <c:pt idx="34">
                  <c:v>40850</c:v>
                </c:pt>
                <c:pt idx="35">
                  <c:v>40851</c:v>
                </c:pt>
                <c:pt idx="36">
                  <c:v>40852</c:v>
                </c:pt>
                <c:pt idx="37">
                  <c:v>40853</c:v>
                </c:pt>
                <c:pt idx="38">
                  <c:v>40854</c:v>
                </c:pt>
                <c:pt idx="39">
                  <c:v>40855</c:v>
                </c:pt>
                <c:pt idx="40">
                  <c:v>40856</c:v>
                </c:pt>
                <c:pt idx="41">
                  <c:v>40857</c:v>
                </c:pt>
                <c:pt idx="42">
                  <c:v>40858</c:v>
                </c:pt>
                <c:pt idx="43">
                  <c:v>40859</c:v>
                </c:pt>
                <c:pt idx="44">
                  <c:v>40860</c:v>
                </c:pt>
                <c:pt idx="45">
                  <c:v>40861</c:v>
                </c:pt>
                <c:pt idx="46">
                  <c:v>40862</c:v>
                </c:pt>
                <c:pt idx="47">
                  <c:v>40863</c:v>
                </c:pt>
                <c:pt idx="48">
                  <c:v>40864</c:v>
                </c:pt>
                <c:pt idx="49">
                  <c:v>40865</c:v>
                </c:pt>
                <c:pt idx="50">
                  <c:v>40866</c:v>
                </c:pt>
                <c:pt idx="51">
                  <c:v>40867</c:v>
                </c:pt>
                <c:pt idx="52">
                  <c:v>40868</c:v>
                </c:pt>
                <c:pt idx="53">
                  <c:v>40869</c:v>
                </c:pt>
                <c:pt idx="54">
                  <c:v>40870</c:v>
                </c:pt>
                <c:pt idx="55">
                  <c:v>40871</c:v>
                </c:pt>
                <c:pt idx="56">
                  <c:v>40872</c:v>
                </c:pt>
                <c:pt idx="57">
                  <c:v>40873</c:v>
                </c:pt>
                <c:pt idx="58">
                  <c:v>40874</c:v>
                </c:pt>
                <c:pt idx="59">
                  <c:v>40875</c:v>
                </c:pt>
                <c:pt idx="60">
                  <c:v>40876</c:v>
                </c:pt>
                <c:pt idx="61">
                  <c:v>40877</c:v>
                </c:pt>
                <c:pt idx="62">
                  <c:v>40878</c:v>
                </c:pt>
                <c:pt idx="63">
                  <c:v>40879</c:v>
                </c:pt>
                <c:pt idx="64">
                  <c:v>40880</c:v>
                </c:pt>
                <c:pt idx="65">
                  <c:v>40881</c:v>
                </c:pt>
                <c:pt idx="66">
                  <c:v>40882</c:v>
                </c:pt>
                <c:pt idx="67">
                  <c:v>40883</c:v>
                </c:pt>
                <c:pt idx="68">
                  <c:v>40884</c:v>
                </c:pt>
                <c:pt idx="69">
                  <c:v>40885</c:v>
                </c:pt>
                <c:pt idx="70">
                  <c:v>40886</c:v>
                </c:pt>
                <c:pt idx="71">
                  <c:v>40887</c:v>
                </c:pt>
                <c:pt idx="72">
                  <c:v>40888</c:v>
                </c:pt>
                <c:pt idx="73">
                  <c:v>40889</c:v>
                </c:pt>
                <c:pt idx="74">
                  <c:v>40890</c:v>
                </c:pt>
                <c:pt idx="75">
                  <c:v>40891</c:v>
                </c:pt>
                <c:pt idx="76">
                  <c:v>40892</c:v>
                </c:pt>
                <c:pt idx="77">
                  <c:v>40893</c:v>
                </c:pt>
                <c:pt idx="78">
                  <c:v>40894</c:v>
                </c:pt>
                <c:pt idx="79">
                  <c:v>40895</c:v>
                </c:pt>
                <c:pt idx="80">
                  <c:v>40896</c:v>
                </c:pt>
                <c:pt idx="81">
                  <c:v>40897</c:v>
                </c:pt>
                <c:pt idx="82">
                  <c:v>40898</c:v>
                </c:pt>
                <c:pt idx="83">
                  <c:v>40899</c:v>
                </c:pt>
                <c:pt idx="84">
                  <c:v>40900</c:v>
                </c:pt>
                <c:pt idx="85">
                  <c:v>40901</c:v>
                </c:pt>
                <c:pt idx="86">
                  <c:v>40902</c:v>
                </c:pt>
                <c:pt idx="87">
                  <c:v>40903</c:v>
                </c:pt>
                <c:pt idx="88">
                  <c:v>40904</c:v>
                </c:pt>
                <c:pt idx="89">
                  <c:v>40905</c:v>
                </c:pt>
                <c:pt idx="90">
                  <c:v>40906</c:v>
                </c:pt>
                <c:pt idx="91">
                  <c:v>40907</c:v>
                </c:pt>
                <c:pt idx="92">
                  <c:v>40908</c:v>
                </c:pt>
                <c:pt idx="93">
                  <c:v>40909</c:v>
                </c:pt>
                <c:pt idx="94">
                  <c:v>40910</c:v>
                </c:pt>
                <c:pt idx="95">
                  <c:v>40911</c:v>
                </c:pt>
                <c:pt idx="96">
                  <c:v>40912</c:v>
                </c:pt>
                <c:pt idx="97">
                  <c:v>40913</c:v>
                </c:pt>
                <c:pt idx="98">
                  <c:v>40914</c:v>
                </c:pt>
                <c:pt idx="99">
                  <c:v>40915</c:v>
                </c:pt>
                <c:pt idx="100">
                  <c:v>40916</c:v>
                </c:pt>
                <c:pt idx="101">
                  <c:v>40917</c:v>
                </c:pt>
                <c:pt idx="102">
                  <c:v>40918</c:v>
                </c:pt>
                <c:pt idx="103">
                  <c:v>40919</c:v>
                </c:pt>
                <c:pt idx="104">
                  <c:v>40920</c:v>
                </c:pt>
                <c:pt idx="105">
                  <c:v>40921</c:v>
                </c:pt>
                <c:pt idx="106">
                  <c:v>40922</c:v>
                </c:pt>
                <c:pt idx="107">
                  <c:v>40923</c:v>
                </c:pt>
                <c:pt idx="108">
                  <c:v>40924</c:v>
                </c:pt>
                <c:pt idx="109">
                  <c:v>40925</c:v>
                </c:pt>
                <c:pt idx="110">
                  <c:v>40926</c:v>
                </c:pt>
                <c:pt idx="111">
                  <c:v>40927</c:v>
                </c:pt>
                <c:pt idx="112">
                  <c:v>40928</c:v>
                </c:pt>
                <c:pt idx="113">
                  <c:v>40929</c:v>
                </c:pt>
                <c:pt idx="114">
                  <c:v>40930</c:v>
                </c:pt>
                <c:pt idx="115">
                  <c:v>40931</c:v>
                </c:pt>
                <c:pt idx="116">
                  <c:v>40932</c:v>
                </c:pt>
                <c:pt idx="117">
                  <c:v>40933</c:v>
                </c:pt>
                <c:pt idx="118">
                  <c:v>40934</c:v>
                </c:pt>
                <c:pt idx="119">
                  <c:v>40935</c:v>
                </c:pt>
                <c:pt idx="120">
                  <c:v>40936</c:v>
                </c:pt>
                <c:pt idx="121">
                  <c:v>40937</c:v>
                </c:pt>
                <c:pt idx="122">
                  <c:v>40938</c:v>
                </c:pt>
                <c:pt idx="123">
                  <c:v>40939</c:v>
                </c:pt>
                <c:pt idx="124">
                  <c:v>40940</c:v>
                </c:pt>
                <c:pt idx="125">
                  <c:v>40941</c:v>
                </c:pt>
                <c:pt idx="126">
                  <c:v>40942</c:v>
                </c:pt>
                <c:pt idx="127">
                  <c:v>40943</c:v>
                </c:pt>
                <c:pt idx="128">
                  <c:v>40944</c:v>
                </c:pt>
                <c:pt idx="129">
                  <c:v>40945</c:v>
                </c:pt>
                <c:pt idx="130">
                  <c:v>40946</c:v>
                </c:pt>
                <c:pt idx="131">
                  <c:v>40947</c:v>
                </c:pt>
                <c:pt idx="132">
                  <c:v>40948</c:v>
                </c:pt>
                <c:pt idx="133">
                  <c:v>40949</c:v>
                </c:pt>
                <c:pt idx="134">
                  <c:v>40950</c:v>
                </c:pt>
                <c:pt idx="135">
                  <c:v>40951</c:v>
                </c:pt>
                <c:pt idx="136">
                  <c:v>40952</c:v>
                </c:pt>
                <c:pt idx="137">
                  <c:v>40953</c:v>
                </c:pt>
                <c:pt idx="138">
                  <c:v>40954</c:v>
                </c:pt>
                <c:pt idx="139">
                  <c:v>40955</c:v>
                </c:pt>
                <c:pt idx="140">
                  <c:v>40956</c:v>
                </c:pt>
                <c:pt idx="141">
                  <c:v>40957</c:v>
                </c:pt>
                <c:pt idx="142">
                  <c:v>40958</c:v>
                </c:pt>
                <c:pt idx="143">
                  <c:v>40959</c:v>
                </c:pt>
                <c:pt idx="144">
                  <c:v>40960</c:v>
                </c:pt>
                <c:pt idx="145">
                  <c:v>40961</c:v>
                </c:pt>
                <c:pt idx="146">
                  <c:v>40962</c:v>
                </c:pt>
                <c:pt idx="147">
                  <c:v>40963</c:v>
                </c:pt>
                <c:pt idx="148">
                  <c:v>40964</c:v>
                </c:pt>
                <c:pt idx="149">
                  <c:v>40965</c:v>
                </c:pt>
                <c:pt idx="150">
                  <c:v>40966</c:v>
                </c:pt>
                <c:pt idx="151">
                  <c:v>40967</c:v>
                </c:pt>
                <c:pt idx="152">
                  <c:v>40968</c:v>
                </c:pt>
                <c:pt idx="153">
                  <c:v>40969</c:v>
                </c:pt>
                <c:pt idx="154">
                  <c:v>40970</c:v>
                </c:pt>
                <c:pt idx="155">
                  <c:v>40971</c:v>
                </c:pt>
                <c:pt idx="156">
                  <c:v>40972</c:v>
                </c:pt>
                <c:pt idx="157">
                  <c:v>40973</c:v>
                </c:pt>
                <c:pt idx="158">
                  <c:v>40974</c:v>
                </c:pt>
                <c:pt idx="159">
                  <c:v>40975</c:v>
                </c:pt>
                <c:pt idx="160">
                  <c:v>40976</c:v>
                </c:pt>
                <c:pt idx="161">
                  <c:v>40977</c:v>
                </c:pt>
                <c:pt idx="162">
                  <c:v>40978</c:v>
                </c:pt>
                <c:pt idx="163">
                  <c:v>40979</c:v>
                </c:pt>
                <c:pt idx="164">
                  <c:v>40980</c:v>
                </c:pt>
                <c:pt idx="165">
                  <c:v>40981</c:v>
                </c:pt>
                <c:pt idx="166">
                  <c:v>40982</c:v>
                </c:pt>
                <c:pt idx="167">
                  <c:v>40983</c:v>
                </c:pt>
                <c:pt idx="168">
                  <c:v>40984</c:v>
                </c:pt>
                <c:pt idx="169">
                  <c:v>40985</c:v>
                </c:pt>
                <c:pt idx="170">
                  <c:v>40986</c:v>
                </c:pt>
                <c:pt idx="171">
                  <c:v>40987</c:v>
                </c:pt>
                <c:pt idx="172">
                  <c:v>40988</c:v>
                </c:pt>
                <c:pt idx="173">
                  <c:v>40989</c:v>
                </c:pt>
                <c:pt idx="174">
                  <c:v>40990</c:v>
                </c:pt>
                <c:pt idx="175">
                  <c:v>40991</c:v>
                </c:pt>
                <c:pt idx="176">
                  <c:v>40992</c:v>
                </c:pt>
                <c:pt idx="177">
                  <c:v>40993</c:v>
                </c:pt>
                <c:pt idx="178">
                  <c:v>40994</c:v>
                </c:pt>
                <c:pt idx="179">
                  <c:v>40995</c:v>
                </c:pt>
                <c:pt idx="180">
                  <c:v>40996</c:v>
                </c:pt>
                <c:pt idx="181">
                  <c:v>40997</c:v>
                </c:pt>
                <c:pt idx="182">
                  <c:v>40998</c:v>
                </c:pt>
                <c:pt idx="183">
                  <c:v>40999</c:v>
                </c:pt>
                <c:pt idx="184">
                  <c:v>41000</c:v>
                </c:pt>
                <c:pt idx="185">
                  <c:v>41001</c:v>
                </c:pt>
                <c:pt idx="186">
                  <c:v>41002</c:v>
                </c:pt>
                <c:pt idx="187">
                  <c:v>41003</c:v>
                </c:pt>
                <c:pt idx="188">
                  <c:v>41004</c:v>
                </c:pt>
                <c:pt idx="189">
                  <c:v>41005</c:v>
                </c:pt>
                <c:pt idx="190">
                  <c:v>41006</c:v>
                </c:pt>
                <c:pt idx="191">
                  <c:v>41007</c:v>
                </c:pt>
                <c:pt idx="192">
                  <c:v>41008</c:v>
                </c:pt>
                <c:pt idx="193">
                  <c:v>41009</c:v>
                </c:pt>
                <c:pt idx="194">
                  <c:v>41010</c:v>
                </c:pt>
                <c:pt idx="195">
                  <c:v>41011</c:v>
                </c:pt>
                <c:pt idx="196">
                  <c:v>41012</c:v>
                </c:pt>
                <c:pt idx="197">
                  <c:v>41013</c:v>
                </c:pt>
                <c:pt idx="198">
                  <c:v>41014</c:v>
                </c:pt>
                <c:pt idx="199">
                  <c:v>41015</c:v>
                </c:pt>
                <c:pt idx="200">
                  <c:v>41016</c:v>
                </c:pt>
                <c:pt idx="201">
                  <c:v>41017</c:v>
                </c:pt>
                <c:pt idx="202">
                  <c:v>41018</c:v>
                </c:pt>
                <c:pt idx="203">
                  <c:v>41019</c:v>
                </c:pt>
                <c:pt idx="204">
                  <c:v>41020</c:v>
                </c:pt>
                <c:pt idx="205">
                  <c:v>41021</c:v>
                </c:pt>
                <c:pt idx="206">
                  <c:v>41022</c:v>
                </c:pt>
                <c:pt idx="207">
                  <c:v>41023</c:v>
                </c:pt>
                <c:pt idx="208">
                  <c:v>41024</c:v>
                </c:pt>
                <c:pt idx="209">
                  <c:v>41025</c:v>
                </c:pt>
                <c:pt idx="210">
                  <c:v>41026</c:v>
                </c:pt>
                <c:pt idx="211">
                  <c:v>41027</c:v>
                </c:pt>
                <c:pt idx="212">
                  <c:v>41028</c:v>
                </c:pt>
                <c:pt idx="213">
                  <c:v>41029</c:v>
                </c:pt>
                <c:pt idx="214">
                  <c:v>41030</c:v>
                </c:pt>
                <c:pt idx="215">
                  <c:v>41031</c:v>
                </c:pt>
                <c:pt idx="216">
                  <c:v>41032</c:v>
                </c:pt>
                <c:pt idx="217">
                  <c:v>41033</c:v>
                </c:pt>
                <c:pt idx="218">
                  <c:v>41034</c:v>
                </c:pt>
                <c:pt idx="219">
                  <c:v>41035</c:v>
                </c:pt>
                <c:pt idx="220">
                  <c:v>41036</c:v>
                </c:pt>
                <c:pt idx="221">
                  <c:v>41037</c:v>
                </c:pt>
                <c:pt idx="222">
                  <c:v>41038</c:v>
                </c:pt>
                <c:pt idx="223">
                  <c:v>41039</c:v>
                </c:pt>
                <c:pt idx="224">
                  <c:v>41040</c:v>
                </c:pt>
                <c:pt idx="225">
                  <c:v>41041</c:v>
                </c:pt>
                <c:pt idx="226">
                  <c:v>41042</c:v>
                </c:pt>
                <c:pt idx="227">
                  <c:v>41043</c:v>
                </c:pt>
                <c:pt idx="228">
                  <c:v>41044</c:v>
                </c:pt>
                <c:pt idx="229">
                  <c:v>41045</c:v>
                </c:pt>
                <c:pt idx="230">
                  <c:v>41046</c:v>
                </c:pt>
                <c:pt idx="231">
                  <c:v>41047</c:v>
                </c:pt>
                <c:pt idx="232">
                  <c:v>41048</c:v>
                </c:pt>
                <c:pt idx="233">
                  <c:v>41049</c:v>
                </c:pt>
                <c:pt idx="234">
                  <c:v>41050</c:v>
                </c:pt>
                <c:pt idx="235">
                  <c:v>41051</c:v>
                </c:pt>
                <c:pt idx="236">
                  <c:v>41052</c:v>
                </c:pt>
                <c:pt idx="237">
                  <c:v>41053</c:v>
                </c:pt>
                <c:pt idx="238">
                  <c:v>41054</c:v>
                </c:pt>
                <c:pt idx="239">
                  <c:v>41055</c:v>
                </c:pt>
                <c:pt idx="240">
                  <c:v>41056</c:v>
                </c:pt>
                <c:pt idx="241">
                  <c:v>41057</c:v>
                </c:pt>
                <c:pt idx="242">
                  <c:v>41058</c:v>
                </c:pt>
                <c:pt idx="243">
                  <c:v>41059</c:v>
                </c:pt>
                <c:pt idx="244">
                  <c:v>41060</c:v>
                </c:pt>
                <c:pt idx="245">
                  <c:v>41061</c:v>
                </c:pt>
                <c:pt idx="246">
                  <c:v>41062</c:v>
                </c:pt>
                <c:pt idx="247">
                  <c:v>41063</c:v>
                </c:pt>
                <c:pt idx="248">
                  <c:v>41064</c:v>
                </c:pt>
                <c:pt idx="249">
                  <c:v>41065</c:v>
                </c:pt>
                <c:pt idx="250">
                  <c:v>41066</c:v>
                </c:pt>
                <c:pt idx="251">
                  <c:v>41067</c:v>
                </c:pt>
                <c:pt idx="252">
                  <c:v>41068</c:v>
                </c:pt>
                <c:pt idx="253">
                  <c:v>41069</c:v>
                </c:pt>
                <c:pt idx="254">
                  <c:v>41070</c:v>
                </c:pt>
                <c:pt idx="255">
                  <c:v>41071</c:v>
                </c:pt>
                <c:pt idx="256">
                  <c:v>41072</c:v>
                </c:pt>
                <c:pt idx="257">
                  <c:v>41073</c:v>
                </c:pt>
                <c:pt idx="258">
                  <c:v>41074</c:v>
                </c:pt>
                <c:pt idx="259">
                  <c:v>41075</c:v>
                </c:pt>
                <c:pt idx="260">
                  <c:v>41076</c:v>
                </c:pt>
                <c:pt idx="261">
                  <c:v>41077</c:v>
                </c:pt>
                <c:pt idx="262">
                  <c:v>41078</c:v>
                </c:pt>
                <c:pt idx="263">
                  <c:v>41079</c:v>
                </c:pt>
                <c:pt idx="264">
                  <c:v>41080</c:v>
                </c:pt>
                <c:pt idx="265">
                  <c:v>41081</c:v>
                </c:pt>
                <c:pt idx="266">
                  <c:v>41082</c:v>
                </c:pt>
                <c:pt idx="267">
                  <c:v>41083</c:v>
                </c:pt>
                <c:pt idx="268">
                  <c:v>41084</c:v>
                </c:pt>
                <c:pt idx="269">
                  <c:v>41085</c:v>
                </c:pt>
                <c:pt idx="270">
                  <c:v>41086</c:v>
                </c:pt>
                <c:pt idx="271">
                  <c:v>41087</c:v>
                </c:pt>
                <c:pt idx="272">
                  <c:v>41088</c:v>
                </c:pt>
                <c:pt idx="273">
                  <c:v>41089</c:v>
                </c:pt>
                <c:pt idx="274">
                  <c:v>41090</c:v>
                </c:pt>
                <c:pt idx="275">
                  <c:v>41091</c:v>
                </c:pt>
                <c:pt idx="276">
                  <c:v>41092</c:v>
                </c:pt>
                <c:pt idx="277">
                  <c:v>41093</c:v>
                </c:pt>
                <c:pt idx="278">
                  <c:v>41094</c:v>
                </c:pt>
                <c:pt idx="279">
                  <c:v>41095</c:v>
                </c:pt>
                <c:pt idx="280">
                  <c:v>41096</c:v>
                </c:pt>
                <c:pt idx="281">
                  <c:v>41097</c:v>
                </c:pt>
                <c:pt idx="282">
                  <c:v>41098</c:v>
                </c:pt>
                <c:pt idx="283">
                  <c:v>41099</c:v>
                </c:pt>
                <c:pt idx="284">
                  <c:v>41100</c:v>
                </c:pt>
                <c:pt idx="285">
                  <c:v>41101</c:v>
                </c:pt>
                <c:pt idx="286">
                  <c:v>41102</c:v>
                </c:pt>
                <c:pt idx="287">
                  <c:v>41103</c:v>
                </c:pt>
                <c:pt idx="288">
                  <c:v>41104</c:v>
                </c:pt>
                <c:pt idx="289">
                  <c:v>41105</c:v>
                </c:pt>
                <c:pt idx="290">
                  <c:v>41106</c:v>
                </c:pt>
                <c:pt idx="291">
                  <c:v>41107</c:v>
                </c:pt>
                <c:pt idx="292">
                  <c:v>41108</c:v>
                </c:pt>
                <c:pt idx="293">
                  <c:v>41109</c:v>
                </c:pt>
                <c:pt idx="294">
                  <c:v>41110</c:v>
                </c:pt>
                <c:pt idx="295">
                  <c:v>41111</c:v>
                </c:pt>
                <c:pt idx="296">
                  <c:v>41112</c:v>
                </c:pt>
                <c:pt idx="297">
                  <c:v>41113</c:v>
                </c:pt>
                <c:pt idx="298">
                  <c:v>41114</c:v>
                </c:pt>
                <c:pt idx="299">
                  <c:v>41115</c:v>
                </c:pt>
                <c:pt idx="300">
                  <c:v>41116</c:v>
                </c:pt>
                <c:pt idx="301">
                  <c:v>41117</c:v>
                </c:pt>
                <c:pt idx="302">
                  <c:v>41118</c:v>
                </c:pt>
                <c:pt idx="303">
                  <c:v>41119</c:v>
                </c:pt>
                <c:pt idx="304">
                  <c:v>41120</c:v>
                </c:pt>
                <c:pt idx="305">
                  <c:v>41121</c:v>
                </c:pt>
                <c:pt idx="306">
                  <c:v>41122</c:v>
                </c:pt>
                <c:pt idx="307">
                  <c:v>41123</c:v>
                </c:pt>
                <c:pt idx="308">
                  <c:v>41124</c:v>
                </c:pt>
                <c:pt idx="309">
                  <c:v>41125</c:v>
                </c:pt>
                <c:pt idx="310">
                  <c:v>41126</c:v>
                </c:pt>
                <c:pt idx="311">
                  <c:v>41127</c:v>
                </c:pt>
                <c:pt idx="312">
                  <c:v>41128</c:v>
                </c:pt>
                <c:pt idx="313">
                  <c:v>41129</c:v>
                </c:pt>
                <c:pt idx="314">
                  <c:v>41130</c:v>
                </c:pt>
                <c:pt idx="315">
                  <c:v>41131</c:v>
                </c:pt>
                <c:pt idx="316">
                  <c:v>41132</c:v>
                </c:pt>
                <c:pt idx="317">
                  <c:v>41133</c:v>
                </c:pt>
                <c:pt idx="318">
                  <c:v>41134</c:v>
                </c:pt>
                <c:pt idx="319">
                  <c:v>41135</c:v>
                </c:pt>
                <c:pt idx="320">
                  <c:v>41136</c:v>
                </c:pt>
                <c:pt idx="321">
                  <c:v>41137</c:v>
                </c:pt>
                <c:pt idx="322">
                  <c:v>41138</c:v>
                </c:pt>
                <c:pt idx="323">
                  <c:v>41139</c:v>
                </c:pt>
                <c:pt idx="324">
                  <c:v>41140</c:v>
                </c:pt>
                <c:pt idx="325">
                  <c:v>41141</c:v>
                </c:pt>
                <c:pt idx="326">
                  <c:v>41142</c:v>
                </c:pt>
                <c:pt idx="327">
                  <c:v>41143</c:v>
                </c:pt>
                <c:pt idx="328">
                  <c:v>41144</c:v>
                </c:pt>
                <c:pt idx="329">
                  <c:v>41145</c:v>
                </c:pt>
                <c:pt idx="330">
                  <c:v>41146</c:v>
                </c:pt>
                <c:pt idx="331">
                  <c:v>41147</c:v>
                </c:pt>
                <c:pt idx="332">
                  <c:v>41148</c:v>
                </c:pt>
                <c:pt idx="333">
                  <c:v>41149</c:v>
                </c:pt>
                <c:pt idx="334">
                  <c:v>41150</c:v>
                </c:pt>
                <c:pt idx="335">
                  <c:v>41151</c:v>
                </c:pt>
                <c:pt idx="336">
                  <c:v>41152</c:v>
                </c:pt>
                <c:pt idx="337">
                  <c:v>41153</c:v>
                </c:pt>
                <c:pt idx="338">
                  <c:v>41154</c:v>
                </c:pt>
                <c:pt idx="339">
                  <c:v>41155</c:v>
                </c:pt>
                <c:pt idx="340">
                  <c:v>41156</c:v>
                </c:pt>
                <c:pt idx="341">
                  <c:v>41157</c:v>
                </c:pt>
                <c:pt idx="342">
                  <c:v>41158</c:v>
                </c:pt>
                <c:pt idx="343">
                  <c:v>41159</c:v>
                </c:pt>
                <c:pt idx="344">
                  <c:v>41160</c:v>
                </c:pt>
                <c:pt idx="345">
                  <c:v>41161</c:v>
                </c:pt>
                <c:pt idx="346">
                  <c:v>41162</c:v>
                </c:pt>
                <c:pt idx="347">
                  <c:v>41163</c:v>
                </c:pt>
                <c:pt idx="348">
                  <c:v>41164</c:v>
                </c:pt>
                <c:pt idx="349">
                  <c:v>41165</c:v>
                </c:pt>
                <c:pt idx="350">
                  <c:v>41166</c:v>
                </c:pt>
                <c:pt idx="351">
                  <c:v>41167</c:v>
                </c:pt>
                <c:pt idx="352">
                  <c:v>41168</c:v>
                </c:pt>
                <c:pt idx="353">
                  <c:v>41169</c:v>
                </c:pt>
                <c:pt idx="354">
                  <c:v>41170</c:v>
                </c:pt>
                <c:pt idx="355">
                  <c:v>41171</c:v>
                </c:pt>
                <c:pt idx="356">
                  <c:v>41172</c:v>
                </c:pt>
                <c:pt idx="357">
                  <c:v>41173</c:v>
                </c:pt>
                <c:pt idx="358">
                  <c:v>41174</c:v>
                </c:pt>
                <c:pt idx="359">
                  <c:v>41175</c:v>
                </c:pt>
                <c:pt idx="360">
                  <c:v>41176</c:v>
                </c:pt>
                <c:pt idx="361">
                  <c:v>41177</c:v>
                </c:pt>
                <c:pt idx="362">
                  <c:v>41178</c:v>
                </c:pt>
                <c:pt idx="363">
                  <c:v>41179</c:v>
                </c:pt>
                <c:pt idx="364">
                  <c:v>41180</c:v>
                </c:pt>
                <c:pt idx="365">
                  <c:v>41181</c:v>
                </c:pt>
                <c:pt idx="366">
                  <c:v>41182</c:v>
                </c:pt>
                <c:pt idx="367">
                  <c:v>41183</c:v>
                </c:pt>
                <c:pt idx="368">
                  <c:v>41184</c:v>
                </c:pt>
                <c:pt idx="369">
                  <c:v>41185</c:v>
                </c:pt>
                <c:pt idx="370">
                  <c:v>41186</c:v>
                </c:pt>
                <c:pt idx="371">
                  <c:v>41187</c:v>
                </c:pt>
                <c:pt idx="372">
                  <c:v>41188</c:v>
                </c:pt>
                <c:pt idx="373">
                  <c:v>41189</c:v>
                </c:pt>
                <c:pt idx="374">
                  <c:v>41190</c:v>
                </c:pt>
                <c:pt idx="375">
                  <c:v>41191</c:v>
                </c:pt>
                <c:pt idx="376">
                  <c:v>41192</c:v>
                </c:pt>
                <c:pt idx="377">
                  <c:v>41193</c:v>
                </c:pt>
                <c:pt idx="378">
                  <c:v>41194</c:v>
                </c:pt>
                <c:pt idx="379">
                  <c:v>41195</c:v>
                </c:pt>
                <c:pt idx="380">
                  <c:v>41196</c:v>
                </c:pt>
                <c:pt idx="381">
                  <c:v>41197</c:v>
                </c:pt>
                <c:pt idx="382">
                  <c:v>41198</c:v>
                </c:pt>
                <c:pt idx="383">
                  <c:v>41199</c:v>
                </c:pt>
                <c:pt idx="384">
                  <c:v>41200</c:v>
                </c:pt>
                <c:pt idx="385">
                  <c:v>41201</c:v>
                </c:pt>
                <c:pt idx="386">
                  <c:v>41202</c:v>
                </c:pt>
                <c:pt idx="387">
                  <c:v>41203</c:v>
                </c:pt>
                <c:pt idx="388">
                  <c:v>41204</c:v>
                </c:pt>
                <c:pt idx="389">
                  <c:v>41205</c:v>
                </c:pt>
                <c:pt idx="390">
                  <c:v>41206</c:v>
                </c:pt>
                <c:pt idx="391">
                  <c:v>41207</c:v>
                </c:pt>
                <c:pt idx="392">
                  <c:v>41208</c:v>
                </c:pt>
                <c:pt idx="393">
                  <c:v>41209</c:v>
                </c:pt>
                <c:pt idx="394">
                  <c:v>41210</c:v>
                </c:pt>
                <c:pt idx="395">
                  <c:v>41211</c:v>
                </c:pt>
                <c:pt idx="396">
                  <c:v>41212</c:v>
                </c:pt>
                <c:pt idx="397">
                  <c:v>41213</c:v>
                </c:pt>
                <c:pt idx="398">
                  <c:v>41214</c:v>
                </c:pt>
                <c:pt idx="399">
                  <c:v>41215</c:v>
                </c:pt>
                <c:pt idx="400">
                  <c:v>41216</c:v>
                </c:pt>
                <c:pt idx="401">
                  <c:v>41217</c:v>
                </c:pt>
                <c:pt idx="402">
                  <c:v>41218</c:v>
                </c:pt>
                <c:pt idx="403">
                  <c:v>41219</c:v>
                </c:pt>
                <c:pt idx="404">
                  <c:v>41220</c:v>
                </c:pt>
                <c:pt idx="405">
                  <c:v>41221</c:v>
                </c:pt>
                <c:pt idx="406">
                  <c:v>41222</c:v>
                </c:pt>
                <c:pt idx="407">
                  <c:v>41223</c:v>
                </c:pt>
                <c:pt idx="408">
                  <c:v>41224</c:v>
                </c:pt>
                <c:pt idx="409">
                  <c:v>41225</c:v>
                </c:pt>
                <c:pt idx="410">
                  <c:v>41226</c:v>
                </c:pt>
                <c:pt idx="411">
                  <c:v>41227</c:v>
                </c:pt>
                <c:pt idx="412">
                  <c:v>41228</c:v>
                </c:pt>
                <c:pt idx="413">
                  <c:v>41229</c:v>
                </c:pt>
                <c:pt idx="414">
                  <c:v>41230</c:v>
                </c:pt>
                <c:pt idx="415">
                  <c:v>41231</c:v>
                </c:pt>
                <c:pt idx="416">
                  <c:v>41232</c:v>
                </c:pt>
                <c:pt idx="417">
                  <c:v>41233</c:v>
                </c:pt>
                <c:pt idx="418">
                  <c:v>41234</c:v>
                </c:pt>
                <c:pt idx="419">
                  <c:v>41235</c:v>
                </c:pt>
                <c:pt idx="420">
                  <c:v>41236</c:v>
                </c:pt>
                <c:pt idx="421">
                  <c:v>41237</c:v>
                </c:pt>
                <c:pt idx="422">
                  <c:v>41238</c:v>
                </c:pt>
                <c:pt idx="423">
                  <c:v>41239</c:v>
                </c:pt>
                <c:pt idx="424">
                  <c:v>41240</c:v>
                </c:pt>
                <c:pt idx="425">
                  <c:v>41241</c:v>
                </c:pt>
                <c:pt idx="426">
                  <c:v>41242</c:v>
                </c:pt>
                <c:pt idx="427">
                  <c:v>41243</c:v>
                </c:pt>
                <c:pt idx="428">
                  <c:v>41244</c:v>
                </c:pt>
                <c:pt idx="429">
                  <c:v>41245</c:v>
                </c:pt>
                <c:pt idx="430">
                  <c:v>41246</c:v>
                </c:pt>
                <c:pt idx="431">
                  <c:v>41247</c:v>
                </c:pt>
                <c:pt idx="432">
                  <c:v>41248</c:v>
                </c:pt>
                <c:pt idx="433">
                  <c:v>41249</c:v>
                </c:pt>
                <c:pt idx="434">
                  <c:v>41250</c:v>
                </c:pt>
                <c:pt idx="435">
                  <c:v>41251</c:v>
                </c:pt>
                <c:pt idx="436">
                  <c:v>41252</c:v>
                </c:pt>
                <c:pt idx="437">
                  <c:v>41253</c:v>
                </c:pt>
                <c:pt idx="438">
                  <c:v>41254</c:v>
                </c:pt>
                <c:pt idx="439">
                  <c:v>41255</c:v>
                </c:pt>
                <c:pt idx="440">
                  <c:v>41256</c:v>
                </c:pt>
                <c:pt idx="441">
                  <c:v>41257</c:v>
                </c:pt>
                <c:pt idx="442">
                  <c:v>41258</c:v>
                </c:pt>
                <c:pt idx="443">
                  <c:v>41259</c:v>
                </c:pt>
                <c:pt idx="444">
                  <c:v>41260</c:v>
                </c:pt>
                <c:pt idx="445">
                  <c:v>41261</c:v>
                </c:pt>
                <c:pt idx="446">
                  <c:v>41262</c:v>
                </c:pt>
                <c:pt idx="447">
                  <c:v>41263</c:v>
                </c:pt>
                <c:pt idx="448">
                  <c:v>41264</c:v>
                </c:pt>
                <c:pt idx="449">
                  <c:v>41265</c:v>
                </c:pt>
                <c:pt idx="450">
                  <c:v>41266</c:v>
                </c:pt>
                <c:pt idx="451">
                  <c:v>41267</c:v>
                </c:pt>
                <c:pt idx="452">
                  <c:v>41268</c:v>
                </c:pt>
                <c:pt idx="453">
                  <c:v>41269</c:v>
                </c:pt>
                <c:pt idx="454">
                  <c:v>41270</c:v>
                </c:pt>
                <c:pt idx="455">
                  <c:v>41271</c:v>
                </c:pt>
                <c:pt idx="456">
                  <c:v>41272</c:v>
                </c:pt>
                <c:pt idx="457">
                  <c:v>41273</c:v>
                </c:pt>
                <c:pt idx="458">
                  <c:v>41274</c:v>
                </c:pt>
                <c:pt idx="459">
                  <c:v>41275</c:v>
                </c:pt>
                <c:pt idx="460">
                  <c:v>41276</c:v>
                </c:pt>
                <c:pt idx="461">
                  <c:v>41277</c:v>
                </c:pt>
                <c:pt idx="462">
                  <c:v>41278</c:v>
                </c:pt>
                <c:pt idx="463">
                  <c:v>41279</c:v>
                </c:pt>
                <c:pt idx="464">
                  <c:v>41280</c:v>
                </c:pt>
                <c:pt idx="465">
                  <c:v>41281</c:v>
                </c:pt>
                <c:pt idx="466">
                  <c:v>41282</c:v>
                </c:pt>
                <c:pt idx="467">
                  <c:v>41283</c:v>
                </c:pt>
                <c:pt idx="468">
                  <c:v>41284</c:v>
                </c:pt>
                <c:pt idx="469">
                  <c:v>41285</c:v>
                </c:pt>
                <c:pt idx="470">
                  <c:v>41286</c:v>
                </c:pt>
                <c:pt idx="471">
                  <c:v>41287</c:v>
                </c:pt>
                <c:pt idx="472">
                  <c:v>41288</c:v>
                </c:pt>
                <c:pt idx="473">
                  <c:v>41289</c:v>
                </c:pt>
                <c:pt idx="474">
                  <c:v>41290</c:v>
                </c:pt>
                <c:pt idx="475">
                  <c:v>41291</c:v>
                </c:pt>
                <c:pt idx="476">
                  <c:v>41292</c:v>
                </c:pt>
                <c:pt idx="477">
                  <c:v>41293</c:v>
                </c:pt>
                <c:pt idx="478">
                  <c:v>41294</c:v>
                </c:pt>
                <c:pt idx="479">
                  <c:v>41295</c:v>
                </c:pt>
                <c:pt idx="480">
                  <c:v>41296</c:v>
                </c:pt>
                <c:pt idx="481">
                  <c:v>41297</c:v>
                </c:pt>
                <c:pt idx="482">
                  <c:v>41298</c:v>
                </c:pt>
                <c:pt idx="483">
                  <c:v>41299</c:v>
                </c:pt>
                <c:pt idx="484">
                  <c:v>41300</c:v>
                </c:pt>
                <c:pt idx="485">
                  <c:v>41301</c:v>
                </c:pt>
                <c:pt idx="486">
                  <c:v>41302</c:v>
                </c:pt>
                <c:pt idx="487">
                  <c:v>41303</c:v>
                </c:pt>
                <c:pt idx="488">
                  <c:v>41304</c:v>
                </c:pt>
                <c:pt idx="489">
                  <c:v>41305</c:v>
                </c:pt>
                <c:pt idx="490">
                  <c:v>41306</c:v>
                </c:pt>
                <c:pt idx="491">
                  <c:v>41307</c:v>
                </c:pt>
                <c:pt idx="492">
                  <c:v>41308</c:v>
                </c:pt>
                <c:pt idx="493">
                  <c:v>41309</c:v>
                </c:pt>
                <c:pt idx="494">
                  <c:v>41310</c:v>
                </c:pt>
                <c:pt idx="495">
                  <c:v>41311</c:v>
                </c:pt>
                <c:pt idx="496">
                  <c:v>41312</c:v>
                </c:pt>
                <c:pt idx="497">
                  <c:v>41313</c:v>
                </c:pt>
                <c:pt idx="498">
                  <c:v>41314</c:v>
                </c:pt>
                <c:pt idx="499">
                  <c:v>41315</c:v>
                </c:pt>
                <c:pt idx="500">
                  <c:v>41316</c:v>
                </c:pt>
                <c:pt idx="501">
                  <c:v>41317</c:v>
                </c:pt>
                <c:pt idx="502">
                  <c:v>41318</c:v>
                </c:pt>
                <c:pt idx="503">
                  <c:v>41319</c:v>
                </c:pt>
                <c:pt idx="504">
                  <c:v>41320</c:v>
                </c:pt>
                <c:pt idx="505">
                  <c:v>41321</c:v>
                </c:pt>
                <c:pt idx="506">
                  <c:v>41322</c:v>
                </c:pt>
                <c:pt idx="507">
                  <c:v>41323</c:v>
                </c:pt>
                <c:pt idx="508">
                  <c:v>41324</c:v>
                </c:pt>
                <c:pt idx="509">
                  <c:v>41325</c:v>
                </c:pt>
                <c:pt idx="510">
                  <c:v>41326</c:v>
                </c:pt>
                <c:pt idx="511">
                  <c:v>41327</c:v>
                </c:pt>
                <c:pt idx="512">
                  <c:v>41328</c:v>
                </c:pt>
                <c:pt idx="513">
                  <c:v>41329</c:v>
                </c:pt>
                <c:pt idx="514">
                  <c:v>41330</c:v>
                </c:pt>
                <c:pt idx="515">
                  <c:v>41331</c:v>
                </c:pt>
                <c:pt idx="516">
                  <c:v>41332</c:v>
                </c:pt>
                <c:pt idx="517">
                  <c:v>41333</c:v>
                </c:pt>
                <c:pt idx="518">
                  <c:v>41334</c:v>
                </c:pt>
                <c:pt idx="519">
                  <c:v>41335</c:v>
                </c:pt>
                <c:pt idx="520">
                  <c:v>41336</c:v>
                </c:pt>
                <c:pt idx="521">
                  <c:v>41337</c:v>
                </c:pt>
                <c:pt idx="522">
                  <c:v>41338</c:v>
                </c:pt>
                <c:pt idx="523">
                  <c:v>41339</c:v>
                </c:pt>
                <c:pt idx="524">
                  <c:v>41340</c:v>
                </c:pt>
                <c:pt idx="525">
                  <c:v>41341</c:v>
                </c:pt>
                <c:pt idx="526">
                  <c:v>41342</c:v>
                </c:pt>
                <c:pt idx="527">
                  <c:v>41343</c:v>
                </c:pt>
                <c:pt idx="528">
                  <c:v>41344</c:v>
                </c:pt>
                <c:pt idx="529">
                  <c:v>41345</c:v>
                </c:pt>
                <c:pt idx="530">
                  <c:v>41346</c:v>
                </c:pt>
                <c:pt idx="531">
                  <c:v>41347</c:v>
                </c:pt>
                <c:pt idx="532">
                  <c:v>41348</c:v>
                </c:pt>
                <c:pt idx="533">
                  <c:v>41349</c:v>
                </c:pt>
                <c:pt idx="534">
                  <c:v>41350</c:v>
                </c:pt>
                <c:pt idx="535">
                  <c:v>41351</c:v>
                </c:pt>
                <c:pt idx="536">
                  <c:v>41352</c:v>
                </c:pt>
                <c:pt idx="537">
                  <c:v>41353</c:v>
                </c:pt>
                <c:pt idx="538">
                  <c:v>41354</c:v>
                </c:pt>
                <c:pt idx="539">
                  <c:v>41355</c:v>
                </c:pt>
                <c:pt idx="540">
                  <c:v>41356</c:v>
                </c:pt>
                <c:pt idx="541">
                  <c:v>41357</c:v>
                </c:pt>
                <c:pt idx="542">
                  <c:v>41358</c:v>
                </c:pt>
                <c:pt idx="543">
                  <c:v>41359</c:v>
                </c:pt>
                <c:pt idx="544">
                  <c:v>41360</c:v>
                </c:pt>
                <c:pt idx="545">
                  <c:v>41361</c:v>
                </c:pt>
                <c:pt idx="546">
                  <c:v>41362</c:v>
                </c:pt>
                <c:pt idx="547">
                  <c:v>41363</c:v>
                </c:pt>
                <c:pt idx="548">
                  <c:v>41364</c:v>
                </c:pt>
                <c:pt idx="549">
                  <c:v>41365</c:v>
                </c:pt>
                <c:pt idx="550">
                  <c:v>41366</c:v>
                </c:pt>
                <c:pt idx="551">
                  <c:v>41367</c:v>
                </c:pt>
                <c:pt idx="552">
                  <c:v>41368</c:v>
                </c:pt>
                <c:pt idx="553">
                  <c:v>41369</c:v>
                </c:pt>
                <c:pt idx="554">
                  <c:v>41370</c:v>
                </c:pt>
                <c:pt idx="555">
                  <c:v>41371</c:v>
                </c:pt>
                <c:pt idx="556">
                  <c:v>41372</c:v>
                </c:pt>
                <c:pt idx="557">
                  <c:v>41373</c:v>
                </c:pt>
                <c:pt idx="558">
                  <c:v>41374</c:v>
                </c:pt>
                <c:pt idx="559">
                  <c:v>41375</c:v>
                </c:pt>
                <c:pt idx="560">
                  <c:v>41376</c:v>
                </c:pt>
                <c:pt idx="561">
                  <c:v>41377</c:v>
                </c:pt>
                <c:pt idx="562">
                  <c:v>41378</c:v>
                </c:pt>
                <c:pt idx="563">
                  <c:v>41379</c:v>
                </c:pt>
                <c:pt idx="564">
                  <c:v>41380</c:v>
                </c:pt>
                <c:pt idx="565">
                  <c:v>41381</c:v>
                </c:pt>
                <c:pt idx="566">
                  <c:v>41382</c:v>
                </c:pt>
                <c:pt idx="567">
                  <c:v>41383</c:v>
                </c:pt>
                <c:pt idx="568">
                  <c:v>41384</c:v>
                </c:pt>
                <c:pt idx="569">
                  <c:v>41385</c:v>
                </c:pt>
                <c:pt idx="570">
                  <c:v>41386</c:v>
                </c:pt>
                <c:pt idx="571">
                  <c:v>41387</c:v>
                </c:pt>
                <c:pt idx="572">
                  <c:v>41388</c:v>
                </c:pt>
                <c:pt idx="573">
                  <c:v>41389</c:v>
                </c:pt>
                <c:pt idx="574">
                  <c:v>41390</c:v>
                </c:pt>
                <c:pt idx="575">
                  <c:v>41391</c:v>
                </c:pt>
                <c:pt idx="576">
                  <c:v>41392</c:v>
                </c:pt>
                <c:pt idx="577">
                  <c:v>41393</c:v>
                </c:pt>
                <c:pt idx="578">
                  <c:v>41394</c:v>
                </c:pt>
                <c:pt idx="579">
                  <c:v>41395</c:v>
                </c:pt>
                <c:pt idx="580">
                  <c:v>41396</c:v>
                </c:pt>
                <c:pt idx="581">
                  <c:v>41397</c:v>
                </c:pt>
                <c:pt idx="582">
                  <c:v>41398</c:v>
                </c:pt>
                <c:pt idx="583">
                  <c:v>41399</c:v>
                </c:pt>
                <c:pt idx="584">
                  <c:v>41400</c:v>
                </c:pt>
                <c:pt idx="585">
                  <c:v>41401</c:v>
                </c:pt>
                <c:pt idx="586">
                  <c:v>41402</c:v>
                </c:pt>
                <c:pt idx="587">
                  <c:v>41403</c:v>
                </c:pt>
                <c:pt idx="588">
                  <c:v>41404</c:v>
                </c:pt>
                <c:pt idx="589">
                  <c:v>41405</c:v>
                </c:pt>
                <c:pt idx="590">
                  <c:v>41406</c:v>
                </c:pt>
                <c:pt idx="591">
                  <c:v>41407</c:v>
                </c:pt>
                <c:pt idx="592">
                  <c:v>41408</c:v>
                </c:pt>
                <c:pt idx="593">
                  <c:v>41409</c:v>
                </c:pt>
                <c:pt idx="594">
                  <c:v>41410</c:v>
                </c:pt>
                <c:pt idx="595">
                  <c:v>41411</c:v>
                </c:pt>
                <c:pt idx="596">
                  <c:v>41412</c:v>
                </c:pt>
                <c:pt idx="597">
                  <c:v>41413</c:v>
                </c:pt>
                <c:pt idx="598">
                  <c:v>41414</c:v>
                </c:pt>
                <c:pt idx="599">
                  <c:v>41415</c:v>
                </c:pt>
                <c:pt idx="600">
                  <c:v>41416</c:v>
                </c:pt>
                <c:pt idx="601">
                  <c:v>41417</c:v>
                </c:pt>
                <c:pt idx="602">
                  <c:v>41418</c:v>
                </c:pt>
                <c:pt idx="603">
                  <c:v>41419</c:v>
                </c:pt>
                <c:pt idx="604">
                  <c:v>41420</c:v>
                </c:pt>
                <c:pt idx="605">
                  <c:v>41421</c:v>
                </c:pt>
                <c:pt idx="606">
                  <c:v>41422</c:v>
                </c:pt>
                <c:pt idx="607">
                  <c:v>41423</c:v>
                </c:pt>
                <c:pt idx="608">
                  <c:v>41424</c:v>
                </c:pt>
                <c:pt idx="609">
                  <c:v>41425</c:v>
                </c:pt>
                <c:pt idx="610">
                  <c:v>41426</c:v>
                </c:pt>
                <c:pt idx="611">
                  <c:v>41427</c:v>
                </c:pt>
                <c:pt idx="612">
                  <c:v>41428</c:v>
                </c:pt>
                <c:pt idx="613">
                  <c:v>41429</c:v>
                </c:pt>
                <c:pt idx="614">
                  <c:v>41430</c:v>
                </c:pt>
                <c:pt idx="615">
                  <c:v>41431</c:v>
                </c:pt>
                <c:pt idx="616">
                  <c:v>41432</c:v>
                </c:pt>
                <c:pt idx="617">
                  <c:v>41433</c:v>
                </c:pt>
                <c:pt idx="618">
                  <c:v>41434</c:v>
                </c:pt>
                <c:pt idx="619">
                  <c:v>41435</c:v>
                </c:pt>
                <c:pt idx="620">
                  <c:v>41436</c:v>
                </c:pt>
                <c:pt idx="621">
                  <c:v>41437</c:v>
                </c:pt>
                <c:pt idx="622">
                  <c:v>41438</c:v>
                </c:pt>
                <c:pt idx="623">
                  <c:v>41439</c:v>
                </c:pt>
                <c:pt idx="624">
                  <c:v>41440</c:v>
                </c:pt>
                <c:pt idx="625">
                  <c:v>41441</c:v>
                </c:pt>
                <c:pt idx="626">
                  <c:v>41442</c:v>
                </c:pt>
                <c:pt idx="627">
                  <c:v>41443</c:v>
                </c:pt>
                <c:pt idx="628">
                  <c:v>41444</c:v>
                </c:pt>
                <c:pt idx="629">
                  <c:v>41445</c:v>
                </c:pt>
                <c:pt idx="630">
                  <c:v>41446</c:v>
                </c:pt>
                <c:pt idx="631">
                  <c:v>41447</c:v>
                </c:pt>
                <c:pt idx="632">
                  <c:v>41448</c:v>
                </c:pt>
                <c:pt idx="633">
                  <c:v>41449</c:v>
                </c:pt>
                <c:pt idx="634">
                  <c:v>41450</c:v>
                </c:pt>
                <c:pt idx="635">
                  <c:v>41451</c:v>
                </c:pt>
                <c:pt idx="636">
                  <c:v>41452</c:v>
                </c:pt>
                <c:pt idx="637">
                  <c:v>41453</c:v>
                </c:pt>
                <c:pt idx="638">
                  <c:v>41454</c:v>
                </c:pt>
                <c:pt idx="639">
                  <c:v>41455</c:v>
                </c:pt>
                <c:pt idx="640">
                  <c:v>41456</c:v>
                </c:pt>
                <c:pt idx="641">
                  <c:v>41457</c:v>
                </c:pt>
                <c:pt idx="642">
                  <c:v>41458</c:v>
                </c:pt>
                <c:pt idx="643">
                  <c:v>41459</c:v>
                </c:pt>
                <c:pt idx="644">
                  <c:v>41460</c:v>
                </c:pt>
                <c:pt idx="645">
                  <c:v>41461</c:v>
                </c:pt>
                <c:pt idx="646">
                  <c:v>41462</c:v>
                </c:pt>
                <c:pt idx="647">
                  <c:v>41463</c:v>
                </c:pt>
                <c:pt idx="648">
                  <c:v>41464</c:v>
                </c:pt>
                <c:pt idx="649">
                  <c:v>41465</c:v>
                </c:pt>
                <c:pt idx="650">
                  <c:v>41466</c:v>
                </c:pt>
                <c:pt idx="651">
                  <c:v>41467</c:v>
                </c:pt>
                <c:pt idx="652">
                  <c:v>41468</c:v>
                </c:pt>
                <c:pt idx="653">
                  <c:v>41469</c:v>
                </c:pt>
                <c:pt idx="654">
                  <c:v>41470</c:v>
                </c:pt>
                <c:pt idx="655">
                  <c:v>41471</c:v>
                </c:pt>
                <c:pt idx="656">
                  <c:v>41472</c:v>
                </c:pt>
                <c:pt idx="657">
                  <c:v>41473</c:v>
                </c:pt>
                <c:pt idx="658">
                  <c:v>41474</c:v>
                </c:pt>
                <c:pt idx="659">
                  <c:v>41475</c:v>
                </c:pt>
                <c:pt idx="660">
                  <c:v>41476</c:v>
                </c:pt>
                <c:pt idx="661">
                  <c:v>41477</c:v>
                </c:pt>
                <c:pt idx="662">
                  <c:v>41478</c:v>
                </c:pt>
                <c:pt idx="663">
                  <c:v>41479</c:v>
                </c:pt>
                <c:pt idx="664">
                  <c:v>41480</c:v>
                </c:pt>
                <c:pt idx="665">
                  <c:v>41481</c:v>
                </c:pt>
                <c:pt idx="666">
                  <c:v>41482</c:v>
                </c:pt>
                <c:pt idx="667">
                  <c:v>41483</c:v>
                </c:pt>
                <c:pt idx="668">
                  <c:v>41484</c:v>
                </c:pt>
                <c:pt idx="669">
                  <c:v>41485</c:v>
                </c:pt>
                <c:pt idx="670">
                  <c:v>41486</c:v>
                </c:pt>
                <c:pt idx="671">
                  <c:v>41487</c:v>
                </c:pt>
                <c:pt idx="672">
                  <c:v>41488</c:v>
                </c:pt>
                <c:pt idx="673">
                  <c:v>41489</c:v>
                </c:pt>
                <c:pt idx="674">
                  <c:v>41490</c:v>
                </c:pt>
                <c:pt idx="675">
                  <c:v>41491</c:v>
                </c:pt>
                <c:pt idx="676">
                  <c:v>41492</c:v>
                </c:pt>
                <c:pt idx="677">
                  <c:v>41493</c:v>
                </c:pt>
                <c:pt idx="678">
                  <c:v>41494</c:v>
                </c:pt>
                <c:pt idx="679">
                  <c:v>41495</c:v>
                </c:pt>
                <c:pt idx="680">
                  <c:v>41496</c:v>
                </c:pt>
                <c:pt idx="681">
                  <c:v>41497</c:v>
                </c:pt>
                <c:pt idx="682">
                  <c:v>41498</c:v>
                </c:pt>
                <c:pt idx="683">
                  <c:v>41499</c:v>
                </c:pt>
                <c:pt idx="684">
                  <c:v>41500</c:v>
                </c:pt>
                <c:pt idx="685">
                  <c:v>41501</c:v>
                </c:pt>
                <c:pt idx="686">
                  <c:v>41502</c:v>
                </c:pt>
                <c:pt idx="687">
                  <c:v>41503</c:v>
                </c:pt>
                <c:pt idx="688">
                  <c:v>41504</c:v>
                </c:pt>
                <c:pt idx="689">
                  <c:v>41505</c:v>
                </c:pt>
                <c:pt idx="690">
                  <c:v>41506</c:v>
                </c:pt>
                <c:pt idx="691">
                  <c:v>41507</c:v>
                </c:pt>
                <c:pt idx="692">
                  <c:v>41508</c:v>
                </c:pt>
                <c:pt idx="693">
                  <c:v>41509</c:v>
                </c:pt>
                <c:pt idx="694">
                  <c:v>41510</c:v>
                </c:pt>
                <c:pt idx="695">
                  <c:v>41511</c:v>
                </c:pt>
                <c:pt idx="696">
                  <c:v>41512</c:v>
                </c:pt>
                <c:pt idx="697">
                  <c:v>41513</c:v>
                </c:pt>
                <c:pt idx="698">
                  <c:v>41514</c:v>
                </c:pt>
                <c:pt idx="699">
                  <c:v>41515</c:v>
                </c:pt>
                <c:pt idx="700">
                  <c:v>41516</c:v>
                </c:pt>
                <c:pt idx="701">
                  <c:v>41517</c:v>
                </c:pt>
                <c:pt idx="702">
                  <c:v>41518</c:v>
                </c:pt>
                <c:pt idx="703">
                  <c:v>41519</c:v>
                </c:pt>
                <c:pt idx="704">
                  <c:v>41520</c:v>
                </c:pt>
                <c:pt idx="705">
                  <c:v>41521</c:v>
                </c:pt>
                <c:pt idx="706">
                  <c:v>41522</c:v>
                </c:pt>
                <c:pt idx="707">
                  <c:v>41523</c:v>
                </c:pt>
                <c:pt idx="708">
                  <c:v>41524</c:v>
                </c:pt>
                <c:pt idx="709">
                  <c:v>41525</c:v>
                </c:pt>
                <c:pt idx="710">
                  <c:v>41526</c:v>
                </c:pt>
                <c:pt idx="711">
                  <c:v>41527</c:v>
                </c:pt>
                <c:pt idx="712">
                  <c:v>41528</c:v>
                </c:pt>
                <c:pt idx="713">
                  <c:v>41529</c:v>
                </c:pt>
                <c:pt idx="714">
                  <c:v>41530</c:v>
                </c:pt>
                <c:pt idx="715">
                  <c:v>41531</c:v>
                </c:pt>
                <c:pt idx="716">
                  <c:v>41532</c:v>
                </c:pt>
                <c:pt idx="717">
                  <c:v>41533</c:v>
                </c:pt>
                <c:pt idx="718">
                  <c:v>41534</c:v>
                </c:pt>
                <c:pt idx="719">
                  <c:v>41535</c:v>
                </c:pt>
                <c:pt idx="720">
                  <c:v>41536</c:v>
                </c:pt>
                <c:pt idx="721">
                  <c:v>41537</c:v>
                </c:pt>
                <c:pt idx="722">
                  <c:v>41538</c:v>
                </c:pt>
                <c:pt idx="723">
                  <c:v>41539</c:v>
                </c:pt>
                <c:pt idx="724">
                  <c:v>41540</c:v>
                </c:pt>
                <c:pt idx="725">
                  <c:v>41541</c:v>
                </c:pt>
                <c:pt idx="726">
                  <c:v>41542</c:v>
                </c:pt>
                <c:pt idx="727">
                  <c:v>41543</c:v>
                </c:pt>
                <c:pt idx="728">
                  <c:v>41544</c:v>
                </c:pt>
                <c:pt idx="729">
                  <c:v>41545</c:v>
                </c:pt>
                <c:pt idx="730">
                  <c:v>41546</c:v>
                </c:pt>
                <c:pt idx="731">
                  <c:v>41547</c:v>
                </c:pt>
                <c:pt idx="732">
                  <c:v>41548</c:v>
                </c:pt>
                <c:pt idx="733">
                  <c:v>41549</c:v>
                </c:pt>
                <c:pt idx="734">
                  <c:v>41550</c:v>
                </c:pt>
                <c:pt idx="735">
                  <c:v>41551</c:v>
                </c:pt>
                <c:pt idx="736">
                  <c:v>41552</c:v>
                </c:pt>
                <c:pt idx="737">
                  <c:v>41553</c:v>
                </c:pt>
                <c:pt idx="738">
                  <c:v>41554</c:v>
                </c:pt>
                <c:pt idx="739">
                  <c:v>41555</c:v>
                </c:pt>
                <c:pt idx="740">
                  <c:v>41556</c:v>
                </c:pt>
                <c:pt idx="741">
                  <c:v>41557</c:v>
                </c:pt>
                <c:pt idx="742">
                  <c:v>41558</c:v>
                </c:pt>
                <c:pt idx="743">
                  <c:v>41559</c:v>
                </c:pt>
                <c:pt idx="744">
                  <c:v>41560</c:v>
                </c:pt>
                <c:pt idx="745">
                  <c:v>41561</c:v>
                </c:pt>
                <c:pt idx="746">
                  <c:v>41562</c:v>
                </c:pt>
                <c:pt idx="747">
                  <c:v>41563</c:v>
                </c:pt>
                <c:pt idx="748">
                  <c:v>41564</c:v>
                </c:pt>
                <c:pt idx="749">
                  <c:v>41565</c:v>
                </c:pt>
                <c:pt idx="750">
                  <c:v>41566</c:v>
                </c:pt>
                <c:pt idx="751">
                  <c:v>41567</c:v>
                </c:pt>
                <c:pt idx="752">
                  <c:v>41568</c:v>
                </c:pt>
                <c:pt idx="753">
                  <c:v>41569</c:v>
                </c:pt>
                <c:pt idx="754">
                  <c:v>41570</c:v>
                </c:pt>
                <c:pt idx="755">
                  <c:v>41571</c:v>
                </c:pt>
                <c:pt idx="756">
                  <c:v>41572</c:v>
                </c:pt>
                <c:pt idx="757">
                  <c:v>41573</c:v>
                </c:pt>
                <c:pt idx="758">
                  <c:v>41574</c:v>
                </c:pt>
                <c:pt idx="759">
                  <c:v>41575</c:v>
                </c:pt>
                <c:pt idx="760">
                  <c:v>41576</c:v>
                </c:pt>
                <c:pt idx="761">
                  <c:v>41577</c:v>
                </c:pt>
                <c:pt idx="762">
                  <c:v>41578</c:v>
                </c:pt>
                <c:pt idx="763">
                  <c:v>41579</c:v>
                </c:pt>
                <c:pt idx="764">
                  <c:v>41580</c:v>
                </c:pt>
                <c:pt idx="765">
                  <c:v>41581</c:v>
                </c:pt>
                <c:pt idx="766">
                  <c:v>41582</c:v>
                </c:pt>
                <c:pt idx="767">
                  <c:v>41583</c:v>
                </c:pt>
                <c:pt idx="768">
                  <c:v>41584</c:v>
                </c:pt>
                <c:pt idx="769">
                  <c:v>41585</c:v>
                </c:pt>
                <c:pt idx="770">
                  <c:v>41586</c:v>
                </c:pt>
                <c:pt idx="771">
                  <c:v>41587</c:v>
                </c:pt>
                <c:pt idx="772">
                  <c:v>41588</c:v>
                </c:pt>
                <c:pt idx="773">
                  <c:v>41589</c:v>
                </c:pt>
                <c:pt idx="774">
                  <c:v>41590</c:v>
                </c:pt>
                <c:pt idx="775">
                  <c:v>41591</c:v>
                </c:pt>
                <c:pt idx="776">
                  <c:v>41592</c:v>
                </c:pt>
                <c:pt idx="777">
                  <c:v>41593</c:v>
                </c:pt>
                <c:pt idx="778">
                  <c:v>41594</c:v>
                </c:pt>
                <c:pt idx="779">
                  <c:v>41595</c:v>
                </c:pt>
                <c:pt idx="780">
                  <c:v>41596</c:v>
                </c:pt>
                <c:pt idx="781">
                  <c:v>41597</c:v>
                </c:pt>
                <c:pt idx="782">
                  <c:v>41598</c:v>
                </c:pt>
                <c:pt idx="783">
                  <c:v>41599</c:v>
                </c:pt>
                <c:pt idx="784">
                  <c:v>41600</c:v>
                </c:pt>
                <c:pt idx="785">
                  <c:v>41601</c:v>
                </c:pt>
                <c:pt idx="786">
                  <c:v>41602</c:v>
                </c:pt>
                <c:pt idx="787">
                  <c:v>41603</c:v>
                </c:pt>
                <c:pt idx="788">
                  <c:v>41604</c:v>
                </c:pt>
                <c:pt idx="789">
                  <c:v>41605</c:v>
                </c:pt>
                <c:pt idx="790">
                  <c:v>41606</c:v>
                </c:pt>
                <c:pt idx="791">
                  <c:v>41607</c:v>
                </c:pt>
                <c:pt idx="792">
                  <c:v>41608</c:v>
                </c:pt>
                <c:pt idx="793">
                  <c:v>41609</c:v>
                </c:pt>
                <c:pt idx="794">
                  <c:v>41610</c:v>
                </c:pt>
                <c:pt idx="795">
                  <c:v>41611</c:v>
                </c:pt>
                <c:pt idx="796">
                  <c:v>41612</c:v>
                </c:pt>
                <c:pt idx="797">
                  <c:v>41613</c:v>
                </c:pt>
                <c:pt idx="798">
                  <c:v>41614</c:v>
                </c:pt>
                <c:pt idx="799">
                  <c:v>41615</c:v>
                </c:pt>
                <c:pt idx="800">
                  <c:v>41616</c:v>
                </c:pt>
                <c:pt idx="801">
                  <c:v>41617</c:v>
                </c:pt>
                <c:pt idx="802">
                  <c:v>41618</c:v>
                </c:pt>
                <c:pt idx="803">
                  <c:v>41619</c:v>
                </c:pt>
                <c:pt idx="804">
                  <c:v>41620</c:v>
                </c:pt>
                <c:pt idx="805">
                  <c:v>41621</c:v>
                </c:pt>
                <c:pt idx="806">
                  <c:v>41622</c:v>
                </c:pt>
                <c:pt idx="807">
                  <c:v>41623</c:v>
                </c:pt>
                <c:pt idx="808">
                  <c:v>41624</c:v>
                </c:pt>
                <c:pt idx="809">
                  <c:v>41625</c:v>
                </c:pt>
                <c:pt idx="810">
                  <c:v>41626</c:v>
                </c:pt>
                <c:pt idx="811">
                  <c:v>41627</c:v>
                </c:pt>
                <c:pt idx="812">
                  <c:v>41628</c:v>
                </c:pt>
                <c:pt idx="813">
                  <c:v>41629</c:v>
                </c:pt>
                <c:pt idx="814">
                  <c:v>41630</c:v>
                </c:pt>
                <c:pt idx="815">
                  <c:v>41631</c:v>
                </c:pt>
                <c:pt idx="816">
                  <c:v>41632</c:v>
                </c:pt>
                <c:pt idx="817">
                  <c:v>41633</c:v>
                </c:pt>
                <c:pt idx="818">
                  <c:v>41634</c:v>
                </c:pt>
                <c:pt idx="819">
                  <c:v>41635</c:v>
                </c:pt>
                <c:pt idx="820">
                  <c:v>41636</c:v>
                </c:pt>
                <c:pt idx="821">
                  <c:v>41637</c:v>
                </c:pt>
                <c:pt idx="822">
                  <c:v>41638</c:v>
                </c:pt>
                <c:pt idx="823">
                  <c:v>41639</c:v>
                </c:pt>
                <c:pt idx="824">
                  <c:v>41640</c:v>
                </c:pt>
                <c:pt idx="825">
                  <c:v>41641</c:v>
                </c:pt>
                <c:pt idx="826">
                  <c:v>41642</c:v>
                </c:pt>
                <c:pt idx="827">
                  <c:v>41643</c:v>
                </c:pt>
                <c:pt idx="828">
                  <c:v>41644</c:v>
                </c:pt>
                <c:pt idx="829">
                  <c:v>41645</c:v>
                </c:pt>
                <c:pt idx="830">
                  <c:v>41646</c:v>
                </c:pt>
                <c:pt idx="831">
                  <c:v>41647</c:v>
                </c:pt>
                <c:pt idx="832">
                  <c:v>41648</c:v>
                </c:pt>
                <c:pt idx="833">
                  <c:v>41649</c:v>
                </c:pt>
                <c:pt idx="834">
                  <c:v>41650</c:v>
                </c:pt>
                <c:pt idx="835">
                  <c:v>41651</c:v>
                </c:pt>
                <c:pt idx="836">
                  <c:v>41652</c:v>
                </c:pt>
                <c:pt idx="837">
                  <c:v>41653</c:v>
                </c:pt>
                <c:pt idx="838">
                  <c:v>41654</c:v>
                </c:pt>
                <c:pt idx="839">
                  <c:v>41655</c:v>
                </c:pt>
                <c:pt idx="840">
                  <c:v>41656</c:v>
                </c:pt>
                <c:pt idx="841">
                  <c:v>41657</c:v>
                </c:pt>
                <c:pt idx="842">
                  <c:v>41658</c:v>
                </c:pt>
                <c:pt idx="843">
                  <c:v>41659</c:v>
                </c:pt>
                <c:pt idx="844">
                  <c:v>41660</c:v>
                </c:pt>
                <c:pt idx="845">
                  <c:v>41661</c:v>
                </c:pt>
                <c:pt idx="846">
                  <c:v>41662</c:v>
                </c:pt>
                <c:pt idx="847">
                  <c:v>41663</c:v>
                </c:pt>
                <c:pt idx="848">
                  <c:v>41664</c:v>
                </c:pt>
                <c:pt idx="849">
                  <c:v>41665</c:v>
                </c:pt>
                <c:pt idx="850">
                  <c:v>41666</c:v>
                </c:pt>
                <c:pt idx="851">
                  <c:v>41667</c:v>
                </c:pt>
                <c:pt idx="852">
                  <c:v>41668</c:v>
                </c:pt>
                <c:pt idx="853">
                  <c:v>41669</c:v>
                </c:pt>
                <c:pt idx="854">
                  <c:v>41670</c:v>
                </c:pt>
                <c:pt idx="855">
                  <c:v>41671</c:v>
                </c:pt>
                <c:pt idx="856">
                  <c:v>41672</c:v>
                </c:pt>
                <c:pt idx="857">
                  <c:v>41673</c:v>
                </c:pt>
                <c:pt idx="858">
                  <c:v>41674</c:v>
                </c:pt>
                <c:pt idx="859">
                  <c:v>41675</c:v>
                </c:pt>
                <c:pt idx="860">
                  <c:v>41676</c:v>
                </c:pt>
                <c:pt idx="861">
                  <c:v>41677</c:v>
                </c:pt>
                <c:pt idx="862">
                  <c:v>41678</c:v>
                </c:pt>
                <c:pt idx="863">
                  <c:v>41679</c:v>
                </c:pt>
                <c:pt idx="864">
                  <c:v>41680</c:v>
                </c:pt>
                <c:pt idx="865">
                  <c:v>41681</c:v>
                </c:pt>
                <c:pt idx="866">
                  <c:v>41682</c:v>
                </c:pt>
                <c:pt idx="867">
                  <c:v>41683</c:v>
                </c:pt>
                <c:pt idx="868">
                  <c:v>41684</c:v>
                </c:pt>
                <c:pt idx="869">
                  <c:v>41685</c:v>
                </c:pt>
                <c:pt idx="870">
                  <c:v>41686</c:v>
                </c:pt>
                <c:pt idx="871">
                  <c:v>41687</c:v>
                </c:pt>
                <c:pt idx="872">
                  <c:v>41688</c:v>
                </c:pt>
                <c:pt idx="873">
                  <c:v>41689</c:v>
                </c:pt>
                <c:pt idx="874">
                  <c:v>41690</c:v>
                </c:pt>
                <c:pt idx="875">
                  <c:v>41691</c:v>
                </c:pt>
                <c:pt idx="876">
                  <c:v>41692</c:v>
                </c:pt>
                <c:pt idx="877">
                  <c:v>41693</c:v>
                </c:pt>
                <c:pt idx="878">
                  <c:v>41694</c:v>
                </c:pt>
                <c:pt idx="879">
                  <c:v>41695</c:v>
                </c:pt>
                <c:pt idx="880">
                  <c:v>41696</c:v>
                </c:pt>
                <c:pt idx="881">
                  <c:v>41697</c:v>
                </c:pt>
                <c:pt idx="882">
                  <c:v>41698</c:v>
                </c:pt>
                <c:pt idx="883">
                  <c:v>41699</c:v>
                </c:pt>
                <c:pt idx="884">
                  <c:v>41700</c:v>
                </c:pt>
                <c:pt idx="885">
                  <c:v>41701</c:v>
                </c:pt>
                <c:pt idx="886">
                  <c:v>41702</c:v>
                </c:pt>
                <c:pt idx="887">
                  <c:v>41703</c:v>
                </c:pt>
                <c:pt idx="888">
                  <c:v>41704</c:v>
                </c:pt>
                <c:pt idx="889">
                  <c:v>41705</c:v>
                </c:pt>
                <c:pt idx="890">
                  <c:v>41706</c:v>
                </c:pt>
                <c:pt idx="891">
                  <c:v>41707</c:v>
                </c:pt>
                <c:pt idx="892">
                  <c:v>41708</c:v>
                </c:pt>
                <c:pt idx="893">
                  <c:v>41709</c:v>
                </c:pt>
                <c:pt idx="894">
                  <c:v>41710</c:v>
                </c:pt>
                <c:pt idx="895">
                  <c:v>41711</c:v>
                </c:pt>
                <c:pt idx="896">
                  <c:v>41712</c:v>
                </c:pt>
                <c:pt idx="897">
                  <c:v>41713</c:v>
                </c:pt>
                <c:pt idx="898">
                  <c:v>41714</c:v>
                </c:pt>
                <c:pt idx="899">
                  <c:v>41715</c:v>
                </c:pt>
                <c:pt idx="900">
                  <c:v>41716</c:v>
                </c:pt>
                <c:pt idx="901">
                  <c:v>41717</c:v>
                </c:pt>
                <c:pt idx="902">
                  <c:v>41718</c:v>
                </c:pt>
                <c:pt idx="903">
                  <c:v>41719</c:v>
                </c:pt>
                <c:pt idx="904">
                  <c:v>41720</c:v>
                </c:pt>
                <c:pt idx="905">
                  <c:v>41721</c:v>
                </c:pt>
                <c:pt idx="906">
                  <c:v>41722</c:v>
                </c:pt>
                <c:pt idx="907">
                  <c:v>41723</c:v>
                </c:pt>
                <c:pt idx="908">
                  <c:v>41724</c:v>
                </c:pt>
                <c:pt idx="909">
                  <c:v>41725</c:v>
                </c:pt>
                <c:pt idx="910">
                  <c:v>41726</c:v>
                </c:pt>
                <c:pt idx="911">
                  <c:v>41727</c:v>
                </c:pt>
                <c:pt idx="912">
                  <c:v>41728</c:v>
                </c:pt>
                <c:pt idx="913">
                  <c:v>41729</c:v>
                </c:pt>
                <c:pt idx="914">
                  <c:v>41730</c:v>
                </c:pt>
                <c:pt idx="915">
                  <c:v>41731</c:v>
                </c:pt>
                <c:pt idx="916">
                  <c:v>41732</c:v>
                </c:pt>
                <c:pt idx="917">
                  <c:v>41733</c:v>
                </c:pt>
                <c:pt idx="918">
                  <c:v>41734</c:v>
                </c:pt>
                <c:pt idx="919">
                  <c:v>41735</c:v>
                </c:pt>
                <c:pt idx="920">
                  <c:v>41736</c:v>
                </c:pt>
                <c:pt idx="921">
                  <c:v>41737</c:v>
                </c:pt>
                <c:pt idx="922">
                  <c:v>41738</c:v>
                </c:pt>
                <c:pt idx="923">
                  <c:v>41739</c:v>
                </c:pt>
                <c:pt idx="924">
                  <c:v>41740</c:v>
                </c:pt>
                <c:pt idx="925">
                  <c:v>41741</c:v>
                </c:pt>
                <c:pt idx="926">
                  <c:v>41742</c:v>
                </c:pt>
                <c:pt idx="927">
                  <c:v>41743</c:v>
                </c:pt>
                <c:pt idx="928">
                  <c:v>41744</c:v>
                </c:pt>
                <c:pt idx="929">
                  <c:v>41745</c:v>
                </c:pt>
                <c:pt idx="930">
                  <c:v>41746</c:v>
                </c:pt>
                <c:pt idx="931">
                  <c:v>41747</c:v>
                </c:pt>
                <c:pt idx="932">
                  <c:v>41748</c:v>
                </c:pt>
                <c:pt idx="933">
                  <c:v>41749</c:v>
                </c:pt>
                <c:pt idx="934">
                  <c:v>41750</c:v>
                </c:pt>
                <c:pt idx="935">
                  <c:v>41751</c:v>
                </c:pt>
                <c:pt idx="936">
                  <c:v>41752</c:v>
                </c:pt>
                <c:pt idx="937">
                  <c:v>41753</c:v>
                </c:pt>
                <c:pt idx="938">
                  <c:v>41754</c:v>
                </c:pt>
                <c:pt idx="939">
                  <c:v>41755</c:v>
                </c:pt>
                <c:pt idx="940">
                  <c:v>41756</c:v>
                </c:pt>
                <c:pt idx="941">
                  <c:v>41757</c:v>
                </c:pt>
                <c:pt idx="942">
                  <c:v>41758</c:v>
                </c:pt>
                <c:pt idx="943">
                  <c:v>41759</c:v>
                </c:pt>
                <c:pt idx="944">
                  <c:v>41760</c:v>
                </c:pt>
                <c:pt idx="945">
                  <c:v>41761</c:v>
                </c:pt>
                <c:pt idx="946">
                  <c:v>41762</c:v>
                </c:pt>
                <c:pt idx="947">
                  <c:v>41763</c:v>
                </c:pt>
                <c:pt idx="948">
                  <c:v>41764</c:v>
                </c:pt>
                <c:pt idx="949">
                  <c:v>41765</c:v>
                </c:pt>
                <c:pt idx="950">
                  <c:v>41766</c:v>
                </c:pt>
                <c:pt idx="951">
                  <c:v>41767</c:v>
                </c:pt>
                <c:pt idx="952">
                  <c:v>41768</c:v>
                </c:pt>
                <c:pt idx="953">
                  <c:v>41769</c:v>
                </c:pt>
                <c:pt idx="954">
                  <c:v>41770</c:v>
                </c:pt>
                <c:pt idx="955">
                  <c:v>41771</c:v>
                </c:pt>
                <c:pt idx="956">
                  <c:v>41772</c:v>
                </c:pt>
                <c:pt idx="957">
                  <c:v>41773</c:v>
                </c:pt>
                <c:pt idx="958">
                  <c:v>41774</c:v>
                </c:pt>
                <c:pt idx="959">
                  <c:v>41775</c:v>
                </c:pt>
                <c:pt idx="960">
                  <c:v>41776</c:v>
                </c:pt>
                <c:pt idx="961">
                  <c:v>41777</c:v>
                </c:pt>
                <c:pt idx="962">
                  <c:v>41778</c:v>
                </c:pt>
                <c:pt idx="963">
                  <c:v>41779</c:v>
                </c:pt>
                <c:pt idx="964">
                  <c:v>41780</c:v>
                </c:pt>
                <c:pt idx="965">
                  <c:v>41781</c:v>
                </c:pt>
                <c:pt idx="966">
                  <c:v>41782</c:v>
                </c:pt>
                <c:pt idx="967">
                  <c:v>41783</c:v>
                </c:pt>
                <c:pt idx="968">
                  <c:v>41784</c:v>
                </c:pt>
                <c:pt idx="969">
                  <c:v>41785</c:v>
                </c:pt>
                <c:pt idx="970">
                  <c:v>41786</c:v>
                </c:pt>
                <c:pt idx="971">
                  <c:v>41787</c:v>
                </c:pt>
                <c:pt idx="972">
                  <c:v>41788</c:v>
                </c:pt>
                <c:pt idx="973">
                  <c:v>41789</c:v>
                </c:pt>
                <c:pt idx="974">
                  <c:v>41790</c:v>
                </c:pt>
                <c:pt idx="975">
                  <c:v>41791</c:v>
                </c:pt>
                <c:pt idx="976">
                  <c:v>41792</c:v>
                </c:pt>
                <c:pt idx="977">
                  <c:v>41793</c:v>
                </c:pt>
                <c:pt idx="978">
                  <c:v>41794</c:v>
                </c:pt>
                <c:pt idx="979">
                  <c:v>41795</c:v>
                </c:pt>
                <c:pt idx="980">
                  <c:v>41796</c:v>
                </c:pt>
                <c:pt idx="981">
                  <c:v>41797</c:v>
                </c:pt>
                <c:pt idx="982">
                  <c:v>41798</c:v>
                </c:pt>
                <c:pt idx="983">
                  <c:v>41799</c:v>
                </c:pt>
                <c:pt idx="984">
                  <c:v>41800</c:v>
                </c:pt>
                <c:pt idx="985">
                  <c:v>41801</c:v>
                </c:pt>
                <c:pt idx="986">
                  <c:v>41802</c:v>
                </c:pt>
                <c:pt idx="987">
                  <c:v>41803</c:v>
                </c:pt>
                <c:pt idx="988">
                  <c:v>41804</c:v>
                </c:pt>
                <c:pt idx="989">
                  <c:v>41805</c:v>
                </c:pt>
                <c:pt idx="990">
                  <c:v>41806</c:v>
                </c:pt>
                <c:pt idx="991">
                  <c:v>41807</c:v>
                </c:pt>
                <c:pt idx="992">
                  <c:v>41808</c:v>
                </c:pt>
                <c:pt idx="993">
                  <c:v>41809</c:v>
                </c:pt>
                <c:pt idx="994">
                  <c:v>41810</c:v>
                </c:pt>
                <c:pt idx="995">
                  <c:v>41811</c:v>
                </c:pt>
                <c:pt idx="996">
                  <c:v>41812</c:v>
                </c:pt>
                <c:pt idx="997">
                  <c:v>41813</c:v>
                </c:pt>
                <c:pt idx="998">
                  <c:v>41814</c:v>
                </c:pt>
                <c:pt idx="999">
                  <c:v>41815</c:v>
                </c:pt>
                <c:pt idx="1000">
                  <c:v>41816</c:v>
                </c:pt>
                <c:pt idx="1001">
                  <c:v>41817</c:v>
                </c:pt>
                <c:pt idx="1002">
                  <c:v>41818</c:v>
                </c:pt>
                <c:pt idx="1003">
                  <c:v>41819</c:v>
                </c:pt>
                <c:pt idx="1004">
                  <c:v>41820</c:v>
                </c:pt>
                <c:pt idx="1005">
                  <c:v>41821</c:v>
                </c:pt>
                <c:pt idx="1006">
                  <c:v>41822</c:v>
                </c:pt>
                <c:pt idx="1007">
                  <c:v>41823</c:v>
                </c:pt>
                <c:pt idx="1008">
                  <c:v>41824</c:v>
                </c:pt>
                <c:pt idx="1009">
                  <c:v>41825</c:v>
                </c:pt>
                <c:pt idx="1010">
                  <c:v>41826</c:v>
                </c:pt>
                <c:pt idx="1011">
                  <c:v>41827</c:v>
                </c:pt>
                <c:pt idx="1012">
                  <c:v>41828</c:v>
                </c:pt>
                <c:pt idx="1013">
                  <c:v>41829</c:v>
                </c:pt>
                <c:pt idx="1014">
                  <c:v>41830</c:v>
                </c:pt>
                <c:pt idx="1015">
                  <c:v>41831</c:v>
                </c:pt>
                <c:pt idx="1016">
                  <c:v>41832</c:v>
                </c:pt>
                <c:pt idx="1017">
                  <c:v>41833</c:v>
                </c:pt>
                <c:pt idx="1018">
                  <c:v>41834</c:v>
                </c:pt>
                <c:pt idx="1019">
                  <c:v>41835</c:v>
                </c:pt>
                <c:pt idx="1020">
                  <c:v>41836</c:v>
                </c:pt>
                <c:pt idx="1021">
                  <c:v>41837</c:v>
                </c:pt>
                <c:pt idx="1022">
                  <c:v>41838</c:v>
                </c:pt>
                <c:pt idx="1023">
                  <c:v>41839</c:v>
                </c:pt>
                <c:pt idx="1024">
                  <c:v>41840</c:v>
                </c:pt>
                <c:pt idx="1025">
                  <c:v>41841</c:v>
                </c:pt>
                <c:pt idx="1026">
                  <c:v>41842</c:v>
                </c:pt>
                <c:pt idx="1027">
                  <c:v>41843</c:v>
                </c:pt>
                <c:pt idx="1028">
                  <c:v>41844</c:v>
                </c:pt>
                <c:pt idx="1029">
                  <c:v>41845</c:v>
                </c:pt>
                <c:pt idx="1030">
                  <c:v>41846</c:v>
                </c:pt>
                <c:pt idx="1031">
                  <c:v>41847</c:v>
                </c:pt>
                <c:pt idx="1032">
                  <c:v>41848</c:v>
                </c:pt>
                <c:pt idx="1033">
                  <c:v>41849</c:v>
                </c:pt>
                <c:pt idx="1034">
                  <c:v>41850</c:v>
                </c:pt>
                <c:pt idx="1035">
                  <c:v>41851</c:v>
                </c:pt>
                <c:pt idx="1036">
                  <c:v>41852</c:v>
                </c:pt>
                <c:pt idx="1037">
                  <c:v>41853</c:v>
                </c:pt>
                <c:pt idx="1038">
                  <c:v>41854</c:v>
                </c:pt>
                <c:pt idx="1039">
                  <c:v>41855</c:v>
                </c:pt>
                <c:pt idx="1040">
                  <c:v>41856</c:v>
                </c:pt>
                <c:pt idx="1041">
                  <c:v>41857</c:v>
                </c:pt>
                <c:pt idx="1042">
                  <c:v>41858</c:v>
                </c:pt>
                <c:pt idx="1043">
                  <c:v>41859</c:v>
                </c:pt>
                <c:pt idx="1044">
                  <c:v>41860</c:v>
                </c:pt>
                <c:pt idx="1045">
                  <c:v>41861</c:v>
                </c:pt>
                <c:pt idx="1046">
                  <c:v>41862</c:v>
                </c:pt>
                <c:pt idx="1047">
                  <c:v>41863</c:v>
                </c:pt>
                <c:pt idx="1048">
                  <c:v>41864</c:v>
                </c:pt>
                <c:pt idx="1049">
                  <c:v>41865</c:v>
                </c:pt>
                <c:pt idx="1050">
                  <c:v>41866</c:v>
                </c:pt>
                <c:pt idx="1051">
                  <c:v>41867</c:v>
                </c:pt>
                <c:pt idx="1052">
                  <c:v>41868</c:v>
                </c:pt>
                <c:pt idx="1053">
                  <c:v>41869</c:v>
                </c:pt>
                <c:pt idx="1054">
                  <c:v>41870</c:v>
                </c:pt>
                <c:pt idx="1055">
                  <c:v>41871</c:v>
                </c:pt>
                <c:pt idx="1056">
                  <c:v>41872</c:v>
                </c:pt>
                <c:pt idx="1057">
                  <c:v>41873</c:v>
                </c:pt>
                <c:pt idx="1058">
                  <c:v>41874</c:v>
                </c:pt>
                <c:pt idx="1059">
                  <c:v>41875</c:v>
                </c:pt>
                <c:pt idx="1060">
                  <c:v>41876</c:v>
                </c:pt>
                <c:pt idx="1061">
                  <c:v>41877</c:v>
                </c:pt>
                <c:pt idx="1062">
                  <c:v>41878</c:v>
                </c:pt>
                <c:pt idx="1063">
                  <c:v>41879</c:v>
                </c:pt>
                <c:pt idx="1064">
                  <c:v>41880</c:v>
                </c:pt>
                <c:pt idx="1065">
                  <c:v>41881</c:v>
                </c:pt>
                <c:pt idx="1066">
                  <c:v>41882</c:v>
                </c:pt>
                <c:pt idx="1067">
                  <c:v>41883</c:v>
                </c:pt>
                <c:pt idx="1068">
                  <c:v>41884</c:v>
                </c:pt>
                <c:pt idx="1069">
                  <c:v>41885</c:v>
                </c:pt>
                <c:pt idx="1070">
                  <c:v>41886</c:v>
                </c:pt>
                <c:pt idx="1071">
                  <c:v>41887</c:v>
                </c:pt>
                <c:pt idx="1072">
                  <c:v>41888</c:v>
                </c:pt>
                <c:pt idx="1073">
                  <c:v>41889</c:v>
                </c:pt>
                <c:pt idx="1074">
                  <c:v>41890</c:v>
                </c:pt>
                <c:pt idx="1075">
                  <c:v>41891</c:v>
                </c:pt>
                <c:pt idx="1076">
                  <c:v>41892</c:v>
                </c:pt>
                <c:pt idx="1077">
                  <c:v>41893</c:v>
                </c:pt>
                <c:pt idx="1078">
                  <c:v>41894</c:v>
                </c:pt>
                <c:pt idx="1079">
                  <c:v>41895</c:v>
                </c:pt>
                <c:pt idx="1080">
                  <c:v>41896</c:v>
                </c:pt>
                <c:pt idx="1081">
                  <c:v>41897</c:v>
                </c:pt>
                <c:pt idx="1082">
                  <c:v>41898</c:v>
                </c:pt>
                <c:pt idx="1083">
                  <c:v>41899</c:v>
                </c:pt>
                <c:pt idx="1084">
                  <c:v>41900</c:v>
                </c:pt>
                <c:pt idx="1085">
                  <c:v>41901</c:v>
                </c:pt>
                <c:pt idx="1086">
                  <c:v>41902</c:v>
                </c:pt>
                <c:pt idx="1087">
                  <c:v>41903</c:v>
                </c:pt>
                <c:pt idx="1088">
                  <c:v>41904</c:v>
                </c:pt>
                <c:pt idx="1089">
                  <c:v>41905</c:v>
                </c:pt>
                <c:pt idx="1090">
                  <c:v>41906</c:v>
                </c:pt>
                <c:pt idx="1091">
                  <c:v>41907</c:v>
                </c:pt>
                <c:pt idx="1092">
                  <c:v>41908</c:v>
                </c:pt>
                <c:pt idx="1093">
                  <c:v>41909</c:v>
                </c:pt>
                <c:pt idx="1094">
                  <c:v>41910</c:v>
                </c:pt>
                <c:pt idx="1095">
                  <c:v>41911</c:v>
                </c:pt>
                <c:pt idx="1096">
                  <c:v>41912</c:v>
                </c:pt>
                <c:pt idx="1097">
                  <c:v>41913</c:v>
                </c:pt>
                <c:pt idx="1098">
                  <c:v>41914</c:v>
                </c:pt>
                <c:pt idx="1099">
                  <c:v>41915</c:v>
                </c:pt>
                <c:pt idx="1100">
                  <c:v>41916</c:v>
                </c:pt>
                <c:pt idx="1101">
                  <c:v>41917</c:v>
                </c:pt>
                <c:pt idx="1102">
                  <c:v>41918</c:v>
                </c:pt>
                <c:pt idx="1103">
                  <c:v>41919</c:v>
                </c:pt>
                <c:pt idx="1104">
                  <c:v>41920</c:v>
                </c:pt>
                <c:pt idx="1105">
                  <c:v>41921</c:v>
                </c:pt>
                <c:pt idx="1106">
                  <c:v>41922</c:v>
                </c:pt>
                <c:pt idx="1107">
                  <c:v>41923</c:v>
                </c:pt>
                <c:pt idx="1108">
                  <c:v>41924</c:v>
                </c:pt>
                <c:pt idx="1109">
                  <c:v>41925</c:v>
                </c:pt>
                <c:pt idx="1110">
                  <c:v>41926</c:v>
                </c:pt>
                <c:pt idx="1111">
                  <c:v>41927</c:v>
                </c:pt>
                <c:pt idx="1112">
                  <c:v>41928</c:v>
                </c:pt>
                <c:pt idx="1113">
                  <c:v>41929</c:v>
                </c:pt>
                <c:pt idx="1114">
                  <c:v>41930</c:v>
                </c:pt>
                <c:pt idx="1115">
                  <c:v>41931</c:v>
                </c:pt>
                <c:pt idx="1116">
                  <c:v>41932</c:v>
                </c:pt>
                <c:pt idx="1117">
                  <c:v>41933</c:v>
                </c:pt>
                <c:pt idx="1118">
                  <c:v>41934</c:v>
                </c:pt>
                <c:pt idx="1119">
                  <c:v>41935</c:v>
                </c:pt>
                <c:pt idx="1120">
                  <c:v>41936</c:v>
                </c:pt>
                <c:pt idx="1121">
                  <c:v>41937</c:v>
                </c:pt>
                <c:pt idx="1122">
                  <c:v>41938</c:v>
                </c:pt>
                <c:pt idx="1123">
                  <c:v>41939</c:v>
                </c:pt>
                <c:pt idx="1124">
                  <c:v>41940</c:v>
                </c:pt>
                <c:pt idx="1125">
                  <c:v>41941</c:v>
                </c:pt>
                <c:pt idx="1126">
                  <c:v>41942</c:v>
                </c:pt>
                <c:pt idx="1127">
                  <c:v>41943</c:v>
                </c:pt>
                <c:pt idx="1128">
                  <c:v>41944</c:v>
                </c:pt>
                <c:pt idx="1129">
                  <c:v>41945</c:v>
                </c:pt>
                <c:pt idx="1130">
                  <c:v>41946</c:v>
                </c:pt>
                <c:pt idx="1131">
                  <c:v>41947</c:v>
                </c:pt>
                <c:pt idx="1132">
                  <c:v>41948</c:v>
                </c:pt>
                <c:pt idx="1133">
                  <c:v>41949</c:v>
                </c:pt>
                <c:pt idx="1134">
                  <c:v>41950</c:v>
                </c:pt>
                <c:pt idx="1135">
                  <c:v>41951</c:v>
                </c:pt>
                <c:pt idx="1136">
                  <c:v>41952</c:v>
                </c:pt>
                <c:pt idx="1137">
                  <c:v>41953</c:v>
                </c:pt>
                <c:pt idx="1138">
                  <c:v>41954</c:v>
                </c:pt>
                <c:pt idx="1139">
                  <c:v>41955</c:v>
                </c:pt>
                <c:pt idx="1140">
                  <c:v>41956</c:v>
                </c:pt>
                <c:pt idx="1141">
                  <c:v>41957</c:v>
                </c:pt>
                <c:pt idx="1142">
                  <c:v>41958</c:v>
                </c:pt>
                <c:pt idx="1143">
                  <c:v>41959</c:v>
                </c:pt>
                <c:pt idx="1144">
                  <c:v>41960</c:v>
                </c:pt>
                <c:pt idx="1145">
                  <c:v>41961</c:v>
                </c:pt>
                <c:pt idx="1146">
                  <c:v>41962</c:v>
                </c:pt>
                <c:pt idx="1147">
                  <c:v>41963</c:v>
                </c:pt>
                <c:pt idx="1148">
                  <c:v>41964</c:v>
                </c:pt>
                <c:pt idx="1149">
                  <c:v>41965</c:v>
                </c:pt>
                <c:pt idx="1150">
                  <c:v>41966</c:v>
                </c:pt>
                <c:pt idx="1151">
                  <c:v>41967</c:v>
                </c:pt>
                <c:pt idx="1152">
                  <c:v>41968</c:v>
                </c:pt>
                <c:pt idx="1153">
                  <c:v>41969</c:v>
                </c:pt>
                <c:pt idx="1154">
                  <c:v>41970</c:v>
                </c:pt>
                <c:pt idx="1155">
                  <c:v>41971</c:v>
                </c:pt>
                <c:pt idx="1156">
                  <c:v>41972</c:v>
                </c:pt>
                <c:pt idx="1157">
                  <c:v>41973</c:v>
                </c:pt>
                <c:pt idx="1158">
                  <c:v>41974</c:v>
                </c:pt>
                <c:pt idx="1159">
                  <c:v>41975</c:v>
                </c:pt>
                <c:pt idx="1160">
                  <c:v>41976</c:v>
                </c:pt>
                <c:pt idx="1161">
                  <c:v>41977</c:v>
                </c:pt>
                <c:pt idx="1162">
                  <c:v>41978</c:v>
                </c:pt>
                <c:pt idx="1163">
                  <c:v>41979</c:v>
                </c:pt>
                <c:pt idx="1164">
                  <c:v>41980</c:v>
                </c:pt>
                <c:pt idx="1165">
                  <c:v>41981</c:v>
                </c:pt>
                <c:pt idx="1166">
                  <c:v>41982</c:v>
                </c:pt>
                <c:pt idx="1167">
                  <c:v>41983</c:v>
                </c:pt>
                <c:pt idx="1168">
                  <c:v>41984</c:v>
                </c:pt>
                <c:pt idx="1169">
                  <c:v>41985</c:v>
                </c:pt>
                <c:pt idx="1170">
                  <c:v>41986</c:v>
                </c:pt>
                <c:pt idx="1171">
                  <c:v>41987</c:v>
                </c:pt>
                <c:pt idx="1172">
                  <c:v>41988</c:v>
                </c:pt>
                <c:pt idx="1173">
                  <c:v>41989</c:v>
                </c:pt>
                <c:pt idx="1174">
                  <c:v>41990</c:v>
                </c:pt>
                <c:pt idx="1175">
                  <c:v>41991</c:v>
                </c:pt>
                <c:pt idx="1176">
                  <c:v>41992</c:v>
                </c:pt>
                <c:pt idx="1177">
                  <c:v>41993</c:v>
                </c:pt>
                <c:pt idx="1178">
                  <c:v>41994</c:v>
                </c:pt>
                <c:pt idx="1179">
                  <c:v>41995</c:v>
                </c:pt>
                <c:pt idx="1180">
                  <c:v>41996</c:v>
                </c:pt>
                <c:pt idx="1181">
                  <c:v>41997</c:v>
                </c:pt>
                <c:pt idx="1182">
                  <c:v>41998</c:v>
                </c:pt>
                <c:pt idx="1183">
                  <c:v>41999</c:v>
                </c:pt>
                <c:pt idx="1184">
                  <c:v>42000</c:v>
                </c:pt>
                <c:pt idx="1185">
                  <c:v>42001</c:v>
                </c:pt>
                <c:pt idx="1186">
                  <c:v>42002</c:v>
                </c:pt>
                <c:pt idx="1187">
                  <c:v>42003</c:v>
                </c:pt>
                <c:pt idx="1188">
                  <c:v>42004</c:v>
                </c:pt>
                <c:pt idx="1189">
                  <c:v>42005</c:v>
                </c:pt>
                <c:pt idx="1190">
                  <c:v>42006</c:v>
                </c:pt>
                <c:pt idx="1191">
                  <c:v>42007</c:v>
                </c:pt>
                <c:pt idx="1192">
                  <c:v>42008</c:v>
                </c:pt>
                <c:pt idx="1193">
                  <c:v>42009</c:v>
                </c:pt>
                <c:pt idx="1194">
                  <c:v>42010</c:v>
                </c:pt>
                <c:pt idx="1195">
                  <c:v>42011</c:v>
                </c:pt>
                <c:pt idx="1196">
                  <c:v>42012</c:v>
                </c:pt>
                <c:pt idx="1197">
                  <c:v>42013</c:v>
                </c:pt>
                <c:pt idx="1198">
                  <c:v>42014</c:v>
                </c:pt>
                <c:pt idx="1199">
                  <c:v>42015</c:v>
                </c:pt>
                <c:pt idx="1200">
                  <c:v>42016</c:v>
                </c:pt>
                <c:pt idx="1201">
                  <c:v>42017</c:v>
                </c:pt>
                <c:pt idx="1202">
                  <c:v>42018</c:v>
                </c:pt>
                <c:pt idx="1203">
                  <c:v>42019</c:v>
                </c:pt>
                <c:pt idx="1204">
                  <c:v>42020</c:v>
                </c:pt>
                <c:pt idx="1205">
                  <c:v>42021</c:v>
                </c:pt>
                <c:pt idx="1206">
                  <c:v>42022</c:v>
                </c:pt>
                <c:pt idx="1207">
                  <c:v>42023</c:v>
                </c:pt>
                <c:pt idx="1208">
                  <c:v>42024</c:v>
                </c:pt>
                <c:pt idx="1209">
                  <c:v>42025</c:v>
                </c:pt>
                <c:pt idx="1210">
                  <c:v>42026</c:v>
                </c:pt>
                <c:pt idx="1211">
                  <c:v>42027</c:v>
                </c:pt>
                <c:pt idx="1212">
                  <c:v>42028</c:v>
                </c:pt>
                <c:pt idx="1213">
                  <c:v>42029</c:v>
                </c:pt>
                <c:pt idx="1214">
                  <c:v>42030</c:v>
                </c:pt>
                <c:pt idx="1215">
                  <c:v>42031</c:v>
                </c:pt>
                <c:pt idx="1216">
                  <c:v>42032</c:v>
                </c:pt>
                <c:pt idx="1217">
                  <c:v>42033</c:v>
                </c:pt>
                <c:pt idx="1218">
                  <c:v>42034</c:v>
                </c:pt>
                <c:pt idx="1219">
                  <c:v>42035</c:v>
                </c:pt>
                <c:pt idx="1220">
                  <c:v>42036</c:v>
                </c:pt>
                <c:pt idx="1221">
                  <c:v>42037</c:v>
                </c:pt>
                <c:pt idx="1222">
                  <c:v>42038</c:v>
                </c:pt>
                <c:pt idx="1223">
                  <c:v>42039</c:v>
                </c:pt>
                <c:pt idx="1224">
                  <c:v>42040</c:v>
                </c:pt>
                <c:pt idx="1225">
                  <c:v>42041</c:v>
                </c:pt>
                <c:pt idx="1226">
                  <c:v>42042</c:v>
                </c:pt>
                <c:pt idx="1227">
                  <c:v>42043</c:v>
                </c:pt>
                <c:pt idx="1228">
                  <c:v>42044</c:v>
                </c:pt>
                <c:pt idx="1229">
                  <c:v>42045</c:v>
                </c:pt>
                <c:pt idx="1230">
                  <c:v>42046</c:v>
                </c:pt>
                <c:pt idx="1231">
                  <c:v>42047</c:v>
                </c:pt>
                <c:pt idx="1232">
                  <c:v>42048</c:v>
                </c:pt>
                <c:pt idx="1233">
                  <c:v>42049</c:v>
                </c:pt>
                <c:pt idx="1234">
                  <c:v>42050</c:v>
                </c:pt>
                <c:pt idx="1235">
                  <c:v>42051</c:v>
                </c:pt>
                <c:pt idx="1236">
                  <c:v>42052</c:v>
                </c:pt>
                <c:pt idx="1237">
                  <c:v>42053</c:v>
                </c:pt>
                <c:pt idx="1238">
                  <c:v>42054</c:v>
                </c:pt>
                <c:pt idx="1239">
                  <c:v>42055</c:v>
                </c:pt>
                <c:pt idx="1240">
                  <c:v>42056</c:v>
                </c:pt>
                <c:pt idx="1241">
                  <c:v>42057</c:v>
                </c:pt>
                <c:pt idx="1242">
                  <c:v>42058</c:v>
                </c:pt>
                <c:pt idx="1243">
                  <c:v>42059</c:v>
                </c:pt>
                <c:pt idx="1244">
                  <c:v>42060</c:v>
                </c:pt>
                <c:pt idx="1245">
                  <c:v>42061</c:v>
                </c:pt>
                <c:pt idx="1246">
                  <c:v>42062</c:v>
                </c:pt>
                <c:pt idx="1247">
                  <c:v>42063</c:v>
                </c:pt>
                <c:pt idx="1248">
                  <c:v>42064</c:v>
                </c:pt>
                <c:pt idx="1249">
                  <c:v>42065</c:v>
                </c:pt>
                <c:pt idx="1250">
                  <c:v>42066</c:v>
                </c:pt>
                <c:pt idx="1251">
                  <c:v>42067</c:v>
                </c:pt>
                <c:pt idx="1252">
                  <c:v>42068</c:v>
                </c:pt>
                <c:pt idx="1253">
                  <c:v>42069</c:v>
                </c:pt>
                <c:pt idx="1254">
                  <c:v>42070</c:v>
                </c:pt>
                <c:pt idx="1255">
                  <c:v>42071</c:v>
                </c:pt>
                <c:pt idx="1256">
                  <c:v>42072</c:v>
                </c:pt>
                <c:pt idx="1257">
                  <c:v>42073</c:v>
                </c:pt>
                <c:pt idx="1258">
                  <c:v>42074</c:v>
                </c:pt>
                <c:pt idx="1259">
                  <c:v>42075</c:v>
                </c:pt>
                <c:pt idx="1260">
                  <c:v>42076</c:v>
                </c:pt>
                <c:pt idx="1261">
                  <c:v>42077</c:v>
                </c:pt>
                <c:pt idx="1262">
                  <c:v>42078</c:v>
                </c:pt>
                <c:pt idx="1263">
                  <c:v>42079</c:v>
                </c:pt>
                <c:pt idx="1264">
                  <c:v>42080</c:v>
                </c:pt>
                <c:pt idx="1265">
                  <c:v>42081</c:v>
                </c:pt>
                <c:pt idx="1266">
                  <c:v>42082</c:v>
                </c:pt>
                <c:pt idx="1267">
                  <c:v>42083</c:v>
                </c:pt>
                <c:pt idx="1268">
                  <c:v>42084</c:v>
                </c:pt>
                <c:pt idx="1269">
                  <c:v>42085</c:v>
                </c:pt>
                <c:pt idx="1270">
                  <c:v>42086</c:v>
                </c:pt>
                <c:pt idx="1271">
                  <c:v>42087</c:v>
                </c:pt>
                <c:pt idx="1272">
                  <c:v>42088</c:v>
                </c:pt>
                <c:pt idx="1273">
                  <c:v>42089</c:v>
                </c:pt>
                <c:pt idx="1274">
                  <c:v>42090</c:v>
                </c:pt>
                <c:pt idx="1275">
                  <c:v>42091</c:v>
                </c:pt>
                <c:pt idx="1276">
                  <c:v>42092</c:v>
                </c:pt>
                <c:pt idx="1277">
                  <c:v>42093</c:v>
                </c:pt>
                <c:pt idx="1278">
                  <c:v>42094</c:v>
                </c:pt>
                <c:pt idx="1279">
                  <c:v>42095</c:v>
                </c:pt>
                <c:pt idx="1280">
                  <c:v>42096</c:v>
                </c:pt>
                <c:pt idx="1281">
                  <c:v>42097</c:v>
                </c:pt>
                <c:pt idx="1282">
                  <c:v>42098</c:v>
                </c:pt>
                <c:pt idx="1283">
                  <c:v>42099</c:v>
                </c:pt>
                <c:pt idx="1284">
                  <c:v>42100</c:v>
                </c:pt>
                <c:pt idx="1285">
                  <c:v>42101</c:v>
                </c:pt>
                <c:pt idx="1286">
                  <c:v>42102</c:v>
                </c:pt>
                <c:pt idx="1287">
                  <c:v>42103</c:v>
                </c:pt>
                <c:pt idx="1288">
                  <c:v>42104</c:v>
                </c:pt>
                <c:pt idx="1289">
                  <c:v>42105</c:v>
                </c:pt>
                <c:pt idx="1290">
                  <c:v>42106</c:v>
                </c:pt>
                <c:pt idx="1291">
                  <c:v>42107</c:v>
                </c:pt>
                <c:pt idx="1292">
                  <c:v>42108</c:v>
                </c:pt>
                <c:pt idx="1293">
                  <c:v>42109</c:v>
                </c:pt>
                <c:pt idx="1294">
                  <c:v>42110</c:v>
                </c:pt>
                <c:pt idx="1295">
                  <c:v>42111</c:v>
                </c:pt>
                <c:pt idx="1296">
                  <c:v>42112</c:v>
                </c:pt>
                <c:pt idx="1297">
                  <c:v>42113</c:v>
                </c:pt>
                <c:pt idx="1298">
                  <c:v>42114</c:v>
                </c:pt>
                <c:pt idx="1299">
                  <c:v>42115</c:v>
                </c:pt>
                <c:pt idx="1300">
                  <c:v>42116</c:v>
                </c:pt>
                <c:pt idx="1301">
                  <c:v>42117</c:v>
                </c:pt>
                <c:pt idx="1302">
                  <c:v>42118</c:v>
                </c:pt>
                <c:pt idx="1303">
                  <c:v>42119</c:v>
                </c:pt>
                <c:pt idx="1304">
                  <c:v>42120</c:v>
                </c:pt>
                <c:pt idx="1305">
                  <c:v>42121</c:v>
                </c:pt>
                <c:pt idx="1306">
                  <c:v>42122</c:v>
                </c:pt>
                <c:pt idx="1307">
                  <c:v>42123</c:v>
                </c:pt>
                <c:pt idx="1308">
                  <c:v>42124</c:v>
                </c:pt>
                <c:pt idx="1309">
                  <c:v>42125</c:v>
                </c:pt>
                <c:pt idx="1310">
                  <c:v>42126</c:v>
                </c:pt>
                <c:pt idx="1311">
                  <c:v>42127</c:v>
                </c:pt>
                <c:pt idx="1312">
                  <c:v>42128</c:v>
                </c:pt>
                <c:pt idx="1313">
                  <c:v>42129</c:v>
                </c:pt>
                <c:pt idx="1314">
                  <c:v>42130</c:v>
                </c:pt>
                <c:pt idx="1315">
                  <c:v>42131</c:v>
                </c:pt>
                <c:pt idx="1316">
                  <c:v>42132</c:v>
                </c:pt>
                <c:pt idx="1317">
                  <c:v>42133</c:v>
                </c:pt>
                <c:pt idx="1318">
                  <c:v>42134</c:v>
                </c:pt>
                <c:pt idx="1319">
                  <c:v>42135</c:v>
                </c:pt>
                <c:pt idx="1320">
                  <c:v>42136</c:v>
                </c:pt>
                <c:pt idx="1321">
                  <c:v>42137</c:v>
                </c:pt>
                <c:pt idx="1322">
                  <c:v>42138</c:v>
                </c:pt>
                <c:pt idx="1323">
                  <c:v>42139</c:v>
                </c:pt>
                <c:pt idx="1324">
                  <c:v>42140</c:v>
                </c:pt>
                <c:pt idx="1325">
                  <c:v>42141</c:v>
                </c:pt>
                <c:pt idx="1326">
                  <c:v>42142</c:v>
                </c:pt>
                <c:pt idx="1327">
                  <c:v>42143</c:v>
                </c:pt>
                <c:pt idx="1328">
                  <c:v>42144</c:v>
                </c:pt>
                <c:pt idx="1329">
                  <c:v>42145</c:v>
                </c:pt>
                <c:pt idx="1330">
                  <c:v>42146</c:v>
                </c:pt>
                <c:pt idx="1331">
                  <c:v>42147</c:v>
                </c:pt>
                <c:pt idx="1332">
                  <c:v>42148</c:v>
                </c:pt>
                <c:pt idx="1333">
                  <c:v>42149</c:v>
                </c:pt>
                <c:pt idx="1334">
                  <c:v>42150</c:v>
                </c:pt>
                <c:pt idx="1335">
                  <c:v>42151</c:v>
                </c:pt>
                <c:pt idx="1336">
                  <c:v>42152</c:v>
                </c:pt>
                <c:pt idx="1337">
                  <c:v>42153</c:v>
                </c:pt>
                <c:pt idx="1338">
                  <c:v>42154</c:v>
                </c:pt>
                <c:pt idx="1339">
                  <c:v>42155</c:v>
                </c:pt>
                <c:pt idx="1340">
                  <c:v>42156</c:v>
                </c:pt>
                <c:pt idx="1341">
                  <c:v>42157</c:v>
                </c:pt>
                <c:pt idx="1342">
                  <c:v>42158</c:v>
                </c:pt>
                <c:pt idx="1343">
                  <c:v>42159</c:v>
                </c:pt>
                <c:pt idx="1344">
                  <c:v>42160</c:v>
                </c:pt>
                <c:pt idx="1345">
                  <c:v>42161</c:v>
                </c:pt>
                <c:pt idx="1346">
                  <c:v>42162</c:v>
                </c:pt>
                <c:pt idx="1347">
                  <c:v>42163</c:v>
                </c:pt>
                <c:pt idx="1348">
                  <c:v>42164</c:v>
                </c:pt>
                <c:pt idx="1349">
                  <c:v>42165</c:v>
                </c:pt>
                <c:pt idx="1350">
                  <c:v>42166</c:v>
                </c:pt>
                <c:pt idx="1351">
                  <c:v>42167</c:v>
                </c:pt>
                <c:pt idx="1352">
                  <c:v>42168</c:v>
                </c:pt>
                <c:pt idx="1353">
                  <c:v>42169</c:v>
                </c:pt>
                <c:pt idx="1354">
                  <c:v>42170</c:v>
                </c:pt>
                <c:pt idx="1355">
                  <c:v>42171</c:v>
                </c:pt>
                <c:pt idx="1356">
                  <c:v>42172</c:v>
                </c:pt>
                <c:pt idx="1357">
                  <c:v>42173</c:v>
                </c:pt>
                <c:pt idx="1358">
                  <c:v>42174</c:v>
                </c:pt>
                <c:pt idx="1359">
                  <c:v>42175</c:v>
                </c:pt>
                <c:pt idx="1360">
                  <c:v>42176</c:v>
                </c:pt>
                <c:pt idx="1361">
                  <c:v>42177</c:v>
                </c:pt>
                <c:pt idx="1362">
                  <c:v>42178</c:v>
                </c:pt>
                <c:pt idx="1363">
                  <c:v>42179</c:v>
                </c:pt>
                <c:pt idx="1364">
                  <c:v>42180</c:v>
                </c:pt>
                <c:pt idx="1365">
                  <c:v>42181</c:v>
                </c:pt>
                <c:pt idx="1366">
                  <c:v>42182</c:v>
                </c:pt>
                <c:pt idx="1367">
                  <c:v>42183</c:v>
                </c:pt>
                <c:pt idx="1368">
                  <c:v>42184</c:v>
                </c:pt>
                <c:pt idx="1369">
                  <c:v>42185</c:v>
                </c:pt>
                <c:pt idx="1370">
                  <c:v>42186</c:v>
                </c:pt>
                <c:pt idx="1371">
                  <c:v>42187</c:v>
                </c:pt>
                <c:pt idx="1372">
                  <c:v>42188</c:v>
                </c:pt>
                <c:pt idx="1373">
                  <c:v>42189</c:v>
                </c:pt>
                <c:pt idx="1374">
                  <c:v>42190</c:v>
                </c:pt>
                <c:pt idx="1375">
                  <c:v>42191</c:v>
                </c:pt>
                <c:pt idx="1376">
                  <c:v>42192</c:v>
                </c:pt>
                <c:pt idx="1377">
                  <c:v>42193</c:v>
                </c:pt>
                <c:pt idx="1378">
                  <c:v>42194</c:v>
                </c:pt>
                <c:pt idx="1379">
                  <c:v>42195</c:v>
                </c:pt>
                <c:pt idx="1380">
                  <c:v>42196</c:v>
                </c:pt>
                <c:pt idx="1381">
                  <c:v>42197</c:v>
                </c:pt>
                <c:pt idx="1382">
                  <c:v>42198</c:v>
                </c:pt>
                <c:pt idx="1383">
                  <c:v>42199</c:v>
                </c:pt>
                <c:pt idx="1384">
                  <c:v>42200</c:v>
                </c:pt>
                <c:pt idx="1385">
                  <c:v>42201</c:v>
                </c:pt>
                <c:pt idx="1386">
                  <c:v>42202</c:v>
                </c:pt>
                <c:pt idx="1387">
                  <c:v>42203</c:v>
                </c:pt>
                <c:pt idx="1388">
                  <c:v>42204</c:v>
                </c:pt>
                <c:pt idx="1389">
                  <c:v>42205</c:v>
                </c:pt>
                <c:pt idx="1390">
                  <c:v>42206</c:v>
                </c:pt>
                <c:pt idx="1391">
                  <c:v>42207</c:v>
                </c:pt>
                <c:pt idx="1392">
                  <c:v>42208</c:v>
                </c:pt>
                <c:pt idx="1393">
                  <c:v>42209</c:v>
                </c:pt>
                <c:pt idx="1394">
                  <c:v>42210</c:v>
                </c:pt>
                <c:pt idx="1395">
                  <c:v>42211</c:v>
                </c:pt>
                <c:pt idx="1396">
                  <c:v>42212</c:v>
                </c:pt>
                <c:pt idx="1397">
                  <c:v>42213</c:v>
                </c:pt>
                <c:pt idx="1398">
                  <c:v>42214</c:v>
                </c:pt>
                <c:pt idx="1399">
                  <c:v>42215</c:v>
                </c:pt>
                <c:pt idx="1400">
                  <c:v>42216</c:v>
                </c:pt>
                <c:pt idx="1401">
                  <c:v>42217</c:v>
                </c:pt>
                <c:pt idx="1402">
                  <c:v>42218</c:v>
                </c:pt>
                <c:pt idx="1403">
                  <c:v>42219</c:v>
                </c:pt>
                <c:pt idx="1404">
                  <c:v>42220</c:v>
                </c:pt>
                <c:pt idx="1405">
                  <c:v>42221</c:v>
                </c:pt>
                <c:pt idx="1406">
                  <c:v>42222</c:v>
                </c:pt>
                <c:pt idx="1407">
                  <c:v>42223</c:v>
                </c:pt>
                <c:pt idx="1408">
                  <c:v>42224</c:v>
                </c:pt>
                <c:pt idx="1409">
                  <c:v>42225</c:v>
                </c:pt>
                <c:pt idx="1410">
                  <c:v>42226</c:v>
                </c:pt>
                <c:pt idx="1411">
                  <c:v>42227</c:v>
                </c:pt>
                <c:pt idx="1412">
                  <c:v>42228</c:v>
                </c:pt>
                <c:pt idx="1413">
                  <c:v>42229</c:v>
                </c:pt>
                <c:pt idx="1414">
                  <c:v>42230</c:v>
                </c:pt>
                <c:pt idx="1415">
                  <c:v>42231</c:v>
                </c:pt>
                <c:pt idx="1416">
                  <c:v>42232</c:v>
                </c:pt>
                <c:pt idx="1417">
                  <c:v>42233</c:v>
                </c:pt>
                <c:pt idx="1418">
                  <c:v>42234</c:v>
                </c:pt>
                <c:pt idx="1419">
                  <c:v>42235</c:v>
                </c:pt>
                <c:pt idx="1420">
                  <c:v>42236</c:v>
                </c:pt>
                <c:pt idx="1421">
                  <c:v>42237</c:v>
                </c:pt>
                <c:pt idx="1422">
                  <c:v>42238</c:v>
                </c:pt>
                <c:pt idx="1423">
                  <c:v>42239</c:v>
                </c:pt>
                <c:pt idx="1424">
                  <c:v>42240</c:v>
                </c:pt>
                <c:pt idx="1425">
                  <c:v>42241</c:v>
                </c:pt>
                <c:pt idx="1426">
                  <c:v>42242</c:v>
                </c:pt>
                <c:pt idx="1427">
                  <c:v>42243</c:v>
                </c:pt>
                <c:pt idx="1428">
                  <c:v>42244</c:v>
                </c:pt>
                <c:pt idx="1429">
                  <c:v>42245</c:v>
                </c:pt>
                <c:pt idx="1430">
                  <c:v>42246</c:v>
                </c:pt>
                <c:pt idx="1431">
                  <c:v>42247</c:v>
                </c:pt>
                <c:pt idx="1432">
                  <c:v>42248</c:v>
                </c:pt>
                <c:pt idx="1433">
                  <c:v>42249</c:v>
                </c:pt>
                <c:pt idx="1434">
                  <c:v>42250</c:v>
                </c:pt>
                <c:pt idx="1435">
                  <c:v>42251</c:v>
                </c:pt>
                <c:pt idx="1436">
                  <c:v>42252</c:v>
                </c:pt>
                <c:pt idx="1437">
                  <c:v>42253</c:v>
                </c:pt>
                <c:pt idx="1438">
                  <c:v>42254</c:v>
                </c:pt>
                <c:pt idx="1439">
                  <c:v>42255</c:v>
                </c:pt>
                <c:pt idx="1440">
                  <c:v>42256</c:v>
                </c:pt>
                <c:pt idx="1441">
                  <c:v>42257</c:v>
                </c:pt>
                <c:pt idx="1442">
                  <c:v>42258</c:v>
                </c:pt>
                <c:pt idx="1443">
                  <c:v>42259</c:v>
                </c:pt>
                <c:pt idx="1444">
                  <c:v>42260</c:v>
                </c:pt>
                <c:pt idx="1445">
                  <c:v>42261</c:v>
                </c:pt>
                <c:pt idx="1446">
                  <c:v>42262</c:v>
                </c:pt>
                <c:pt idx="1447">
                  <c:v>42263</c:v>
                </c:pt>
                <c:pt idx="1448">
                  <c:v>42264</c:v>
                </c:pt>
                <c:pt idx="1449">
                  <c:v>42265</c:v>
                </c:pt>
                <c:pt idx="1450">
                  <c:v>42266</c:v>
                </c:pt>
                <c:pt idx="1451">
                  <c:v>42267</c:v>
                </c:pt>
                <c:pt idx="1452">
                  <c:v>42268</c:v>
                </c:pt>
                <c:pt idx="1453">
                  <c:v>42269</c:v>
                </c:pt>
                <c:pt idx="1454">
                  <c:v>42270</c:v>
                </c:pt>
                <c:pt idx="1455">
                  <c:v>42271</c:v>
                </c:pt>
                <c:pt idx="1456">
                  <c:v>42272</c:v>
                </c:pt>
                <c:pt idx="1457">
                  <c:v>42273</c:v>
                </c:pt>
                <c:pt idx="1458">
                  <c:v>42274</c:v>
                </c:pt>
                <c:pt idx="1459">
                  <c:v>42275</c:v>
                </c:pt>
                <c:pt idx="1460">
                  <c:v>42276</c:v>
                </c:pt>
                <c:pt idx="1461">
                  <c:v>42277</c:v>
                </c:pt>
                <c:pt idx="1462">
                  <c:v>42278</c:v>
                </c:pt>
                <c:pt idx="1463">
                  <c:v>42279</c:v>
                </c:pt>
                <c:pt idx="1464">
                  <c:v>42280</c:v>
                </c:pt>
                <c:pt idx="1465">
                  <c:v>42281</c:v>
                </c:pt>
                <c:pt idx="1466">
                  <c:v>42282</c:v>
                </c:pt>
                <c:pt idx="1467">
                  <c:v>42283</c:v>
                </c:pt>
                <c:pt idx="1468">
                  <c:v>42284</c:v>
                </c:pt>
                <c:pt idx="1469">
                  <c:v>42285</c:v>
                </c:pt>
                <c:pt idx="1470">
                  <c:v>42286</c:v>
                </c:pt>
                <c:pt idx="1471">
                  <c:v>42287</c:v>
                </c:pt>
                <c:pt idx="1472">
                  <c:v>42288</c:v>
                </c:pt>
                <c:pt idx="1473">
                  <c:v>42289</c:v>
                </c:pt>
                <c:pt idx="1474">
                  <c:v>42290</c:v>
                </c:pt>
                <c:pt idx="1475">
                  <c:v>42291</c:v>
                </c:pt>
                <c:pt idx="1476">
                  <c:v>42292</c:v>
                </c:pt>
                <c:pt idx="1477">
                  <c:v>42293</c:v>
                </c:pt>
                <c:pt idx="1478">
                  <c:v>42294</c:v>
                </c:pt>
                <c:pt idx="1479">
                  <c:v>42295</c:v>
                </c:pt>
                <c:pt idx="1480">
                  <c:v>42296</c:v>
                </c:pt>
                <c:pt idx="1481">
                  <c:v>42297</c:v>
                </c:pt>
                <c:pt idx="1482">
                  <c:v>42298</c:v>
                </c:pt>
                <c:pt idx="1483">
                  <c:v>42299</c:v>
                </c:pt>
                <c:pt idx="1484">
                  <c:v>42300</c:v>
                </c:pt>
                <c:pt idx="1485">
                  <c:v>42301</c:v>
                </c:pt>
                <c:pt idx="1486">
                  <c:v>42302</c:v>
                </c:pt>
                <c:pt idx="1487">
                  <c:v>42303</c:v>
                </c:pt>
                <c:pt idx="1488">
                  <c:v>42304</c:v>
                </c:pt>
                <c:pt idx="1489">
                  <c:v>42305</c:v>
                </c:pt>
                <c:pt idx="1490">
                  <c:v>42306</c:v>
                </c:pt>
                <c:pt idx="1491">
                  <c:v>42307</c:v>
                </c:pt>
                <c:pt idx="1492">
                  <c:v>42308</c:v>
                </c:pt>
                <c:pt idx="1493">
                  <c:v>42309</c:v>
                </c:pt>
                <c:pt idx="1494">
                  <c:v>42310</c:v>
                </c:pt>
                <c:pt idx="1495">
                  <c:v>42311</c:v>
                </c:pt>
                <c:pt idx="1496">
                  <c:v>42312</c:v>
                </c:pt>
                <c:pt idx="1497">
                  <c:v>42313</c:v>
                </c:pt>
                <c:pt idx="1498">
                  <c:v>42314</c:v>
                </c:pt>
                <c:pt idx="1499">
                  <c:v>42315</c:v>
                </c:pt>
                <c:pt idx="1500">
                  <c:v>42316</c:v>
                </c:pt>
                <c:pt idx="1501">
                  <c:v>42317</c:v>
                </c:pt>
                <c:pt idx="1502">
                  <c:v>42318</c:v>
                </c:pt>
                <c:pt idx="1503">
                  <c:v>42319</c:v>
                </c:pt>
                <c:pt idx="1504">
                  <c:v>42320</c:v>
                </c:pt>
                <c:pt idx="1505">
                  <c:v>42321</c:v>
                </c:pt>
                <c:pt idx="1506">
                  <c:v>42322</c:v>
                </c:pt>
                <c:pt idx="1507">
                  <c:v>42323</c:v>
                </c:pt>
                <c:pt idx="1508">
                  <c:v>42324</c:v>
                </c:pt>
                <c:pt idx="1509">
                  <c:v>42325</c:v>
                </c:pt>
                <c:pt idx="1510">
                  <c:v>42326</c:v>
                </c:pt>
                <c:pt idx="1511">
                  <c:v>42327</c:v>
                </c:pt>
                <c:pt idx="1512">
                  <c:v>42328</c:v>
                </c:pt>
                <c:pt idx="1513">
                  <c:v>42329</c:v>
                </c:pt>
                <c:pt idx="1514">
                  <c:v>42330</c:v>
                </c:pt>
                <c:pt idx="1515">
                  <c:v>42331</c:v>
                </c:pt>
                <c:pt idx="1516">
                  <c:v>42332</c:v>
                </c:pt>
                <c:pt idx="1517">
                  <c:v>42333</c:v>
                </c:pt>
                <c:pt idx="1518">
                  <c:v>42334</c:v>
                </c:pt>
                <c:pt idx="1519">
                  <c:v>42335</c:v>
                </c:pt>
                <c:pt idx="1520">
                  <c:v>42336</c:v>
                </c:pt>
                <c:pt idx="1521">
                  <c:v>42337</c:v>
                </c:pt>
                <c:pt idx="1522">
                  <c:v>42338</c:v>
                </c:pt>
                <c:pt idx="1523">
                  <c:v>42339</c:v>
                </c:pt>
                <c:pt idx="1524">
                  <c:v>42340</c:v>
                </c:pt>
                <c:pt idx="1525">
                  <c:v>42341</c:v>
                </c:pt>
                <c:pt idx="1526">
                  <c:v>42342</c:v>
                </c:pt>
                <c:pt idx="1527">
                  <c:v>42343</c:v>
                </c:pt>
                <c:pt idx="1528">
                  <c:v>42344</c:v>
                </c:pt>
                <c:pt idx="1529">
                  <c:v>42345</c:v>
                </c:pt>
                <c:pt idx="1530">
                  <c:v>42346</c:v>
                </c:pt>
                <c:pt idx="1531">
                  <c:v>42347</c:v>
                </c:pt>
                <c:pt idx="1532">
                  <c:v>42348</c:v>
                </c:pt>
                <c:pt idx="1533">
                  <c:v>42349</c:v>
                </c:pt>
                <c:pt idx="1534">
                  <c:v>42350</c:v>
                </c:pt>
                <c:pt idx="1535">
                  <c:v>42351</c:v>
                </c:pt>
                <c:pt idx="1536">
                  <c:v>42352</c:v>
                </c:pt>
                <c:pt idx="1537">
                  <c:v>42353</c:v>
                </c:pt>
                <c:pt idx="1538">
                  <c:v>42354</c:v>
                </c:pt>
                <c:pt idx="1539">
                  <c:v>42355</c:v>
                </c:pt>
                <c:pt idx="1540">
                  <c:v>42356</c:v>
                </c:pt>
                <c:pt idx="1541">
                  <c:v>42357</c:v>
                </c:pt>
                <c:pt idx="1542">
                  <c:v>42358</c:v>
                </c:pt>
                <c:pt idx="1543">
                  <c:v>42359</c:v>
                </c:pt>
                <c:pt idx="1544">
                  <c:v>42360</c:v>
                </c:pt>
                <c:pt idx="1545">
                  <c:v>42361</c:v>
                </c:pt>
                <c:pt idx="1546">
                  <c:v>42362</c:v>
                </c:pt>
                <c:pt idx="1547">
                  <c:v>42363</c:v>
                </c:pt>
                <c:pt idx="1548">
                  <c:v>42364</c:v>
                </c:pt>
                <c:pt idx="1549">
                  <c:v>42365</c:v>
                </c:pt>
                <c:pt idx="1550">
                  <c:v>42366</c:v>
                </c:pt>
                <c:pt idx="1551">
                  <c:v>42367</c:v>
                </c:pt>
                <c:pt idx="1552">
                  <c:v>42368</c:v>
                </c:pt>
                <c:pt idx="1553">
                  <c:v>42369</c:v>
                </c:pt>
                <c:pt idx="1554">
                  <c:v>42370</c:v>
                </c:pt>
                <c:pt idx="1555">
                  <c:v>42371</c:v>
                </c:pt>
                <c:pt idx="1556">
                  <c:v>42372</c:v>
                </c:pt>
                <c:pt idx="1557">
                  <c:v>42373</c:v>
                </c:pt>
                <c:pt idx="1558">
                  <c:v>42374</c:v>
                </c:pt>
                <c:pt idx="1559">
                  <c:v>42375</c:v>
                </c:pt>
                <c:pt idx="1560">
                  <c:v>42376</c:v>
                </c:pt>
                <c:pt idx="1561">
                  <c:v>42377</c:v>
                </c:pt>
                <c:pt idx="1562">
                  <c:v>42378</c:v>
                </c:pt>
                <c:pt idx="1563">
                  <c:v>42379</c:v>
                </c:pt>
                <c:pt idx="1564">
                  <c:v>42380</c:v>
                </c:pt>
                <c:pt idx="1565">
                  <c:v>42381</c:v>
                </c:pt>
                <c:pt idx="1566">
                  <c:v>42382</c:v>
                </c:pt>
                <c:pt idx="1567">
                  <c:v>42383</c:v>
                </c:pt>
                <c:pt idx="1568">
                  <c:v>42384</c:v>
                </c:pt>
                <c:pt idx="1569">
                  <c:v>42385</c:v>
                </c:pt>
                <c:pt idx="1570">
                  <c:v>42386</c:v>
                </c:pt>
                <c:pt idx="1571">
                  <c:v>42387</c:v>
                </c:pt>
                <c:pt idx="1572">
                  <c:v>42388</c:v>
                </c:pt>
                <c:pt idx="1573">
                  <c:v>42389</c:v>
                </c:pt>
                <c:pt idx="1574">
                  <c:v>42390</c:v>
                </c:pt>
                <c:pt idx="1575">
                  <c:v>42391</c:v>
                </c:pt>
                <c:pt idx="1576">
                  <c:v>42392</c:v>
                </c:pt>
                <c:pt idx="1577">
                  <c:v>42393</c:v>
                </c:pt>
                <c:pt idx="1578">
                  <c:v>42394</c:v>
                </c:pt>
                <c:pt idx="1579">
                  <c:v>42395</c:v>
                </c:pt>
                <c:pt idx="1580">
                  <c:v>42396</c:v>
                </c:pt>
                <c:pt idx="1581">
                  <c:v>42397</c:v>
                </c:pt>
                <c:pt idx="1582">
                  <c:v>42398</c:v>
                </c:pt>
                <c:pt idx="1583">
                  <c:v>42399</c:v>
                </c:pt>
                <c:pt idx="1584">
                  <c:v>42400</c:v>
                </c:pt>
                <c:pt idx="1585">
                  <c:v>42401</c:v>
                </c:pt>
                <c:pt idx="1586">
                  <c:v>42402</c:v>
                </c:pt>
                <c:pt idx="1587">
                  <c:v>42403</c:v>
                </c:pt>
                <c:pt idx="1588">
                  <c:v>42404</c:v>
                </c:pt>
                <c:pt idx="1589">
                  <c:v>42405</c:v>
                </c:pt>
                <c:pt idx="1590">
                  <c:v>42406</c:v>
                </c:pt>
                <c:pt idx="1591">
                  <c:v>42407</c:v>
                </c:pt>
                <c:pt idx="1592">
                  <c:v>42408</c:v>
                </c:pt>
                <c:pt idx="1593">
                  <c:v>42409</c:v>
                </c:pt>
                <c:pt idx="1594">
                  <c:v>42410</c:v>
                </c:pt>
                <c:pt idx="1595">
                  <c:v>42411</c:v>
                </c:pt>
                <c:pt idx="1596">
                  <c:v>42412</c:v>
                </c:pt>
                <c:pt idx="1597">
                  <c:v>42413</c:v>
                </c:pt>
                <c:pt idx="1598">
                  <c:v>42414</c:v>
                </c:pt>
                <c:pt idx="1599">
                  <c:v>42415</c:v>
                </c:pt>
                <c:pt idx="1600">
                  <c:v>42416</c:v>
                </c:pt>
                <c:pt idx="1601">
                  <c:v>42417</c:v>
                </c:pt>
                <c:pt idx="1602">
                  <c:v>42418</c:v>
                </c:pt>
                <c:pt idx="1603">
                  <c:v>42419</c:v>
                </c:pt>
                <c:pt idx="1604">
                  <c:v>42420</c:v>
                </c:pt>
                <c:pt idx="1605">
                  <c:v>42421</c:v>
                </c:pt>
                <c:pt idx="1606">
                  <c:v>42422</c:v>
                </c:pt>
                <c:pt idx="1607">
                  <c:v>42423</c:v>
                </c:pt>
                <c:pt idx="1608">
                  <c:v>42424</c:v>
                </c:pt>
                <c:pt idx="1609">
                  <c:v>42425</c:v>
                </c:pt>
                <c:pt idx="1610">
                  <c:v>42426</c:v>
                </c:pt>
                <c:pt idx="1611">
                  <c:v>42427</c:v>
                </c:pt>
                <c:pt idx="1612">
                  <c:v>42428</c:v>
                </c:pt>
                <c:pt idx="1613">
                  <c:v>42429</c:v>
                </c:pt>
                <c:pt idx="1614">
                  <c:v>42430</c:v>
                </c:pt>
                <c:pt idx="1615">
                  <c:v>42431</c:v>
                </c:pt>
                <c:pt idx="1616">
                  <c:v>42432</c:v>
                </c:pt>
                <c:pt idx="1617">
                  <c:v>42433</c:v>
                </c:pt>
                <c:pt idx="1618">
                  <c:v>42434</c:v>
                </c:pt>
                <c:pt idx="1619">
                  <c:v>42435</c:v>
                </c:pt>
                <c:pt idx="1620">
                  <c:v>42436</c:v>
                </c:pt>
                <c:pt idx="1621">
                  <c:v>42437</c:v>
                </c:pt>
                <c:pt idx="1622">
                  <c:v>42438</c:v>
                </c:pt>
                <c:pt idx="1623">
                  <c:v>42439</c:v>
                </c:pt>
                <c:pt idx="1624">
                  <c:v>42440</c:v>
                </c:pt>
                <c:pt idx="1625">
                  <c:v>42441</c:v>
                </c:pt>
                <c:pt idx="1626">
                  <c:v>42442</c:v>
                </c:pt>
                <c:pt idx="1627">
                  <c:v>42443</c:v>
                </c:pt>
                <c:pt idx="1628">
                  <c:v>42444</c:v>
                </c:pt>
                <c:pt idx="1629">
                  <c:v>42445</c:v>
                </c:pt>
                <c:pt idx="1630">
                  <c:v>42446</c:v>
                </c:pt>
                <c:pt idx="1631">
                  <c:v>42447</c:v>
                </c:pt>
                <c:pt idx="1632">
                  <c:v>42448</c:v>
                </c:pt>
                <c:pt idx="1633">
                  <c:v>42449</c:v>
                </c:pt>
                <c:pt idx="1634">
                  <c:v>42450</c:v>
                </c:pt>
                <c:pt idx="1635">
                  <c:v>42451</c:v>
                </c:pt>
                <c:pt idx="1636">
                  <c:v>42452</c:v>
                </c:pt>
                <c:pt idx="1637">
                  <c:v>42453</c:v>
                </c:pt>
                <c:pt idx="1638">
                  <c:v>42454</c:v>
                </c:pt>
                <c:pt idx="1639">
                  <c:v>42455</c:v>
                </c:pt>
                <c:pt idx="1640">
                  <c:v>42456</c:v>
                </c:pt>
                <c:pt idx="1641">
                  <c:v>42457</c:v>
                </c:pt>
                <c:pt idx="1642">
                  <c:v>42458</c:v>
                </c:pt>
                <c:pt idx="1643">
                  <c:v>42459</c:v>
                </c:pt>
                <c:pt idx="1644">
                  <c:v>42460</c:v>
                </c:pt>
                <c:pt idx="1645">
                  <c:v>42461</c:v>
                </c:pt>
                <c:pt idx="1646">
                  <c:v>42462</c:v>
                </c:pt>
                <c:pt idx="1647">
                  <c:v>42463</c:v>
                </c:pt>
                <c:pt idx="1648">
                  <c:v>42464</c:v>
                </c:pt>
                <c:pt idx="1649">
                  <c:v>42465</c:v>
                </c:pt>
                <c:pt idx="1650">
                  <c:v>42466</c:v>
                </c:pt>
                <c:pt idx="1651">
                  <c:v>42467</c:v>
                </c:pt>
                <c:pt idx="1652">
                  <c:v>42468</c:v>
                </c:pt>
                <c:pt idx="1653">
                  <c:v>42469</c:v>
                </c:pt>
                <c:pt idx="1654">
                  <c:v>42470</c:v>
                </c:pt>
                <c:pt idx="1655">
                  <c:v>42471</c:v>
                </c:pt>
                <c:pt idx="1656">
                  <c:v>42472</c:v>
                </c:pt>
                <c:pt idx="1657">
                  <c:v>42473</c:v>
                </c:pt>
                <c:pt idx="1658">
                  <c:v>42474</c:v>
                </c:pt>
                <c:pt idx="1659">
                  <c:v>42475</c:v>
                </c:pt>
                <c:pt idx="1660">
                  <c:v>42476</c:v>
                </c:pt>
                <c:pt idx="1661">
                  <c:v>42477</c:v>
                </c:pt>
                <c:pt idx="1662">
                  <c:v>42478</c:v>
                </c:pt>
                <c:pt idx="1663">
                  <c:v>42479</c:v>
                </c:pt>
                <c:pt idx="1664">
                  <c:v>42480</c:v>
                </c:pt>
                <c:pt idx="1665">
                  <c:v>42481</c:v>
                </c:pt>
                <c:pt idx="1666">
                  <c:v>42482</c:v>
                </c:pt>
                <c:pt idx="1667">
                  <c:v>42483</c:v>
                </c:pt>
                <c:pt idx="1668">
                  <c:v>42484</c:v>
                </c:pt>
                <c:pt idx="1669">
                  <c:v>42485</c:v>
                </c:pt>
                <c:pt idx="1670">
                  <c:v>42486</c:v>
                </c:pt>
                <c:pt idx="1671">
                  <c:v>42487</c:v>
                </c:pt>
                <c:pt idx="1672">
                  <c:v>42488</c:v>
                </c:pt>
                <c:pt idx="1673">
                  <c:v>42489</c:v>
                </c:pt>
                <c:pt idx="1674">
                  <c:v>42490</c:v>
                </c:pt>
                <c:pt idx="1675">
                  <c:v>42491</c:v>
                </c:pt>
                <c:pt idx="1676">
                  <c:v>42492</c:v>
                </c:pt>
                <c:pt idx="1677">
                  <c:v>42493</c:v>
                </c:pt>
                <c:pt idx="1678">
                  <c:v>42494</c:v>
                </c:pt>
                <c:pt idx="1679">
                  <c:v>42495</c:v>
                </c:pt>
                <c:pt idx="1680">
                  <c:v>42496</c:v>
                </c:pt>
                <c:pt idx="1681">
                  <c:v>42497</c:v>
                </c:pt>
                <c:pt idx="1682">
                  <c:v>42498</c:v>
                </c:pt>
                <c:pt idx="1683">
                  <c:v>42499</c:v>
                </c:pt>
                <c:pt idx="1684">
                  <c:v>42500</c:v>
                </c:pt>
                <c:pt idx="1685">
                  <c:v>42501</c:v>
                </c:pt>
                <c:pt idx="1686">
                  <c:v>42502</c:v>
                </c:pt>
                <c:pt idx="1687">
                  <c:v>42503</c:v>
                </c:pt>
                <c:pt idx="1688">
                  <c:v>42504</c:v>
                </c:pt>
                <c:pt idx="1689">
                  <c:v>42505</c:v>
                </c:pt>
                <c:pt idx="1690">
                  <c:v>42506</c:v>
                </c:pt>
                <c:pt idx="1691">
                  <c:v>42507</c:v>
                </c:pt>
                <c:pt idx="1692">
                  <c:v>42508</c:v>
                </c:pt>
                <c:pt idx="1693">
                  <c:v>42509</c:v>
                </c:pt>
                <c:pt idx="1694">
                  <c:v>42510</c:v>
                </c:pt>
                <c:pt idx="1695">
                  <c:v>42511</c:v>
                </c:pt>
                <c:pt idx="1696">
                  <c:v>42512</c:v>
                </c:pt>
                <c:pt idx="1697">
                  <c:v>42513</c:v>
                </c:pt>
                <c:pt idx="1698">
                  <c:v>42514</c:v>
                </c:pt>
                <c:pt idx="1699">
                  <c:v>42515</c:v>
                </c:pt>
                <c:pt idx="1700">
                  <c:v>42516</c:v>
                </c:pt>
                <c:pt idx="1701">
                  <c:v>42517</c:v>
                </c:pt>
                <c:pt idx="1702">
                  <c:v>42518</c:v>
                </c:pt>
                <c:pt idx="1703">
                  <c:v>42519</c:v>
                </c:pt>
                <c:pt idx="1704">
                  <c:v>42520</c:v>
                </c:pt>
                <c:pt idx="1705">
                  <c:v>42521</c:v>
                </c:pt>
                <c:pt idx="1706">
                  <c:v>42522</c:v>
                </c:pt>
                <c:pt idx="1707">
                  <c:v>42523</c:v>
                </c:pt>
                <c:pt idx="1708">
                  <c:v>42524</c:v>
                </c:pt>
                <c:pt idx="1709">
                  <c:v>42525</c:v>
                </c:pt>
                <c:pt idx="1710">
                  <c:v>42526</c:v>
                </c:pt>
                <c:pt idx="1711">
                  <c:v>42527</c:v>
                </c:pt>
                <c:pt idx="1712">
                  <c:v>42528</c:v>
                </c:pt>
                <c:pt idx="1713">
                  <c:v>42529</c:v>
                </c:pt>
                <c:pt idx="1714">
                  <c:v>42530</c:v>
                </c:pt>
                <c:pt idx="1715">
                  <c:v>42531</c:v>
                </c:pt>
                <c:pt idx="1716">
                  <c:v>42532</c:v>
                </c:pt>
                <c:pt idx="1717">
                  <c:v>42533</c:v>
                </c:pt>
                <c:pt idx="1718">
                  <c:v>42534</c:v>
                </c:pt>
                <c:pt idx="1719">
                  <c:v>42535</c:v>
                </c:pt>
                <c:pt idx="1720">
                  <c:v>42536</c:v>
                </c:pt>
                <c:pt idx="1721">
                  <c:v>42537</c:v>
                </c:pt>
                <c:pt idx="1722">
                  <c:v>42538</c:v>
                </c:pt>
                <c:pt idx="1723">
                  <c:v>42539</c:v>
                </c:pt>
                <c:pt idx="1724">
                  <c:v>42540</c:v>
                </c:pt>
                <c:pt idx="1725">
                  <c:v>42541</c:v>
                </c:pt>
                <c:pt idx="1726">
                  <c:v>42542</c:v>
                </c:pt>
                <c:pt idx="1727">
                  <c:v>42543</c:v>
                </c:pt>
                <c:pt idx="1728">
                  <c:v>42544</c:v>
                </c:pt>
                <c:pt idx="1729">
                  <c:v>42545</c:v>
                </c:pt>
                <c:pt idx="1730">
                  <c:v>42546</c:v>
                </c:pt>
                <c:pt idx="1731">
                  <c:v>42547</c:v>
                </c:pt>
                <c:pt idx="1732">
                  <c:v>42548</c:v>
                </c:pt>
                <c:pt idx="1733">
                  <c:v>42549</c:v>
                </c:pt>
                <c:pt idx="1734">
                  <c:v>42550</c:v>
                </c:pt>
                <c:pt idx="1735">
                  <c:v>42551</c:v>
                </c:pt>
                <c:pt idx="1736">
                  <c:v>42552</c:v>
                </c:pt>
                <c:pt idx="1737">
                  <c:v>42553</c:v>
                </c:pt>
                <c:pt idx="1738">
                  <c:v>42554</c:v>
                </c:pt>
                <c:pt idx="1739">
                  <c:v>42555</c:v>
                </c:pt>
                <c:pt idx="1740">
                  <c:v>42556</c:v>
                </c:pt>
                <c:pt idx="1741">
                  <c:v>42557</c:v>
                </c:pt>
                <c:pt idx="1742">
                  <c:v>42558</c:v>
                </c:pt>
                <c:pt idx="1743">
                  <c:v>42559</c:v>
                </c:pt>
                <c:pt idx="1744">
                  <c:v>42560</c:v>
                </c:pt>
                <c:pt idx="1745">
                  <c:v>42561</c:v>
                </c:pt>
                <c:pt idx="1746">
                  <c:v>42562</c:v>
                </c:pt>
                <c:pt idx="1747">
                  <c:v>42563</c:v>
                </c:pt>
                <c:pt idx="1748">
                  <c:v>42564</c:v>
                </c:pt>
                <c:pt idx="1749">
                  <c:v>42565</c:v>
                </c:pt>
                <c:pt idx="1750">
                  <c:v>42566</c:v>
                </c:pt>
                <c:pt idx="1751">
                  <c:v>42567</c:v>
                </c:pt>
                <c:pt idx="1752">
                  <c:v>42568</c:v>
                </c:pt>
                <c:pt idx="1753">
                  <c:v>42569</c:v>
                </c:pt>
                <c:pt idx="1754">
                  <c:v>42570</c:v>
                </c:pt>
                <c:pt idx="1755">
                  <c:v>42571</c:v>
                </c:pt>
                <c:pt idx="1756">
                  <c:v>42572</c:v>
                </c:pt>
                <c:pt idx="1757">
                  <c:v>42573</c:v>
                </c:pt>
                <c:pt idx="1758">
                  <c:v>42574</c:v>
                </c:pt>
                <c:pt idx="1759">
                  <c:v>42575</c:v>
                </c:pt>
                <c:pt idx="1760">
                  <c:v>42576</c:v>
                </c:pt>
                <c:pt idx="1761">
                  <c:v>42577</c:v>
                </c:pt>
                <c:pt idx="1762">
                  <c:v>42578</c:v>
                </c:pt>
                <c:pt idx="1763">
                  <c:v>42579</c:v>
                </c:pt>
                <c:pt idx="1764">
                  <c:v>42580</c:v>
                </c:pt>
                <c:pt idx="1765">
                  <c:v>42581</c:v>
                </c:pt>
                <c:pt idx="1766">
                  <c:v>42582</c:v>
                </c:pt>
                <c:pt idx="1767">
                  <c:v>42583</c:v>
                </c:pt>
                <c:pt idx="1768">
                  <c:v>42584</c:v>
                </c:pt>
                <c:pt idx="1769">
                  <c:v>42585</c:v>
                </c:pt>
                <c:pt idx="1770">
                  <c:v>42586</c:v>
                </c:pt>
                <c:pt idx="1771">
                  <c:v>42587</c:v>
                </c:pt>
                <c:pt idx="1772">
                  <c:v>42588</c:v>
                </c:pt>
                <c:pt idx="1773">
                  <c:v>42589</c:v>
                </c:pt>
                <c:pt idx="1774">
                  <c:v>42590</c:v>
                </c:pt>
                <c:pt idx="1775">
                  <c:v>42591</c:v>
                </c:pt>
                <c:pt idx="1776">
                  <c:v>42592</c:v>
                </c:pt>
                <c:pt idx="1777">
                  <c:v>42593</c:v>
                </c:pt>
                <c:pt idx="1778">
                  <c:v>42594</c:v>
                </c:pt>
                <c:pt idx="1779">
                  <c:v>42595</c:v>
                </c:pt>
                <c:pt idx="1780">
                  <c:v>42596</c:v>
                </c:pt>
                <c:pt idx="1781">
                  <c:v>42597</c:v>
                </c:pt>
                <c:pt idx="1782">
                  <c:v>42598</c:v>
                </c:pt>
                <c:pt idx="1783">
                  <c:v>42599</c:v>
                </c:pt>
                <c:pt idx="1784">
                  <c:v>42600</c:v>
                </c:pt>
                <c:pt idx="1785">
                  <c:v>42601</c:v>
                </c:pt>
                <c:pt idx="1786">
                  <c:v>42602</c:v>
                </c:pt>
                <c:pt idx="1787">
                  <c:v>42603</c:v>
                </c:pt>
                <c:pt idx="1788">
                  <c:v>42604</c:v>
                </c:pt>
                <c:pt idx="1789">
                  <c:v>42605</c:v>
                </c:pt>
                <c:pt idx="1790">
                  <c:v>42606</c:v>
                </c:pt>
                <c:pt idx="1791">
                  <c:v>42607</c:v>
                </c:pt>
                <c:pt idx="1792">
                  <c:v>42608</c:v>
                </c:pt>
                <c:pt idx="1793">
                  <c:v>42609</c:v>
                </c:pt>
                <c:pt idx="1794">
                  <c:v>42610</c:v>
                </c:pt>
                <c:pt idx="1795">
                  <c:v>42611</c:v>
                </c:pt>
                <c:pt idx="1796">
                  <c:v>42612</c:v>
                </c:pt>
                <c:pt idx="1797">
                  <c:v>42613</c:v>
                </c:pt>
                <c:pt idx="1798">
                  <c:v>42614</c:v>
                </c:pt>
                <c:pt idx="1799">
                  <c:v>42615</c:v>
                </c:pt>
                <c:pt idx="1800">
                  <c:v>42616</c:v>
                </c:pt>
                <c:pt idx="1801">
                  <c:v>42617</c:v>
                </c:pt>
                <c:pt idx="1802">
                  <c:v>42618</c:v>
                </c:pt>
                <c:pt idx="1803">
                  <c:v>42619</c:v>
                </c:pt>
                <c:pt idx="1804">
                  <c:v>42620</c:v>
                </c:pt>
                <c:pt idx="1805">
                  <c:v>42621</c:v>
                </c:pt>
                <c:pt idx="1806">
                  <c:v>42622</c:v>
                </c:pt>
                <c:pt idx="1807">
                  <c:v>42623</c:v>
                </c:pt>
                <c:pt idx="1808">
                  <c:v>42624</c:v>
                </c:pt>
                <c:pt idx="1809">
                  <c:v>42625</c:v>
                </c:pt>
                <c:pt idx="1810">
                  <c:v>42626</c:v>
                </c:pt>
                <c:pt idx="1811">
                  <c:v>42627</c:v>
                </c:pt>
                <c:pt idx="1812">
                  <c:v>42628</c:v>
                </c:pt>
                <c:pt idx="1813">
                  <c:v>42629</c:v>
                </c:pt>
                <c:pt idx="1814">
                  <c:v>42630</c:v>
                </c:pt>
                <c:pt idx="1815">
                  <c:v>42631</c:v>
                </c:pt>
                <c:pt idx="1816">
                  <c:v>42632</c:v>
                </c:pt>
                <c:pt idx="1817">
                  <c:v>42633</c:v>
                </c:pt>
                <c:pt idx="1818">
                  <c:v>42634</c:v>
                </c:pt>
                <c:pt idx="1819">
                  <c:v>42635</c:v>
                </c:pt>
                <c:pt idx="1820">
                  <c:v>42636</c:v>
                </c:pt>
                <c:pt idx="1821">
                  <c:v>42637</c:v>
                </c:pt>
                <c:pt idx="1822">
                  <c:v>42638</c:v>
                </c:pt>
                <c:pt idx="1823">
                  <c:v>42639</c:v>
                </c:pt>
                <c:pt idx="1824">
                  <c:v>42640</c:v>
                </c:pt>
                <c:pt idx="1825">
                  <c:v>42641</c:v>
                </c:pt>
                <c:pt idx="1826">
                  <c:v>42642</c:v>
                </c:pt>
                <c:pt idx="1827">
                  <c:v>42643</c:v>
                </c:pt>
                <c:pt idx="1828">
                  <c:v>42644</c:v>
                </c:pt>
                <c:pt idx="1829">
                  <c:v>42645</c:v>
                </c:pt>
                <c:pt idx="1830">
                  <c:v>42646</c:v>
                </c:pt>
                <c:pt idx="1831">
                  <c:v>42647</c:v>
                </c:pt>
                <c:pt idx="1832">
                  <c:v>42648</c:v>
                </c:pt>
                <c:pt idx="1833">
                  <c:v>42649</c:v>
                </c:pt>
                <c:pt idx="1834">
                  <c:v>42650</c:v>
                </c:pt>
                <c:pt idx="1835">
                  <c:v>42651</c:v>
                </c:pt>
                <c:pt idx="1836">
                  <c:v>42652</c:v>
                </c:pt>
                <c:pt idx="1837">
                  <c:v>42653</c:v>
                </c:pt>
                <c:pt idx="1838">
                  <c:v>42654</c:v>
                </c:pt>
                <c:pt idx="1839">
                  <c:v>42655</c:v>
                </c:pt>
                <c:pt idx="1840">
                  <c:v>42656</c:v>
                </c:pt>
                <c:pt idx="1841">
                  <c:v>42657</c:v>
                </c:pt>
                <c:pt idx="1842">
                  <c:v>42658</c:v>
                </c:pt>
                <c:pt idx="1843">
                  <c:v>42659</c:v>
                </c:pt>
                <c:pt idx="1844">
                  <c:v>42660</c:v>
                </c:pt>
                <c:pt idx="1845">
                  <c:v>42661</c:v>
                </c:pt>
                <c:pt idx="1846">
                  <c:v>42662</c:v>
                </c:pt>
                <c:pt idx="1847">
                  <c:v>42663</c:v>
                </c:pt>
                <c:pt idx="1848">
                  <c:v>42664</c:v>
                </c:pt>
                <c:pt idx="1849">
                  <c:v>42665</c:v>
                </c:pt>
                <c:pt idx="1850">
                  <c:v>42666</c:v>
                </c:pt>
                <c:pt idx="1851">
                  <c:v>42667</c:v>
                </c:pt>
                <c:pt idx="1852">
                  <c:v>42668</c:v>
                </c:pt>
                <c:pt idx="1853">
                  <c:v>42669</c:v>
                </c:pt>
                <c:pt idx="1854">
                  <c:v>42670</c:v>
                </c:pt>
                <c:pt idx="1855">
                  <c:v>42671</c:v>
                </c:pt>
                <c:pt idx="1856">
                  <c:v>42672</c:v>
                </c:pt>
                <c:pt idx="1857">
                  <c:v>42673</c:v>
                </c:pt>
                <c:pt idx="1858">
                  <c:v>42674</c:v>
                </c:pt>
                <c:pt idx="1859">
                  <c:v>42675</c:v>
                </c:pt>
                <c:pt idx="1860">
                  <c:v>42676</c:v>
                </c:pt>
                <c:pt idx="1861">
                  <c:v>42677</c:v>
                </c:pt>
                <c:pt idx="1862">
                  <c:v>42678</c:v>
                </c:pt>
                <c:pt idx="1863">
                  <c:v>42679</c:v>
                </c:pt>
                <c:pt idx="1864">
                  <c:v>42680</c:v>
                </c:pt>
                <c:pt idx="1865">
                  <c:v>42681</c:v>
                </c:pt>
                <c:pt idx="1866">
                  <c:v>42682</c:v>
                </c:pt>
                <c:pt idx="1867">
                  <c:v>42683</c:v>
                </c:pt>
                <c:pt idx="1868">
                  <c:v>42684</c:v>
                </c:pt>
                <c:pt idx="1869">
                  <c:v>42685</c:v>
                </c:pt>
                <c:pt idx="1870">
                  <c:v>42686</c:v>
                </c:pt>
                <c:pt idx="1871">
                  <c:v>42687</c:v>
                </c:pt>
                <c:pt idx="1872">
                  <c:v>42688</c:v>
                </c:pt>
                <c:pt idx="1873">
                  <c:v>42689</c:v>
                </c:pt>
                <c:pt idx="1874">
                  <c:v>42690</c:v>
                </c:pt>
                <c:pt idx="1875">
                  <c:v>42691</c:v>
                </c:pt>
                <c:pt idx="1876">
                  <c:v>42692</c:v>
                </c:pt>
                <c:pt idx="1877">
                  <c:v>42693</c:v>
                </c:pt>
                <c:pt idx="1878">
                  <c:v>42694</c:v>
                </c:pt>
                <c:pt idx="1879">
                  <c:v>42695</c:v>
                </c:pt>
                <c:pt idx="1880">
                  <c:v>42696</c:v>
                </c:pt>
                <c:pt idx="1881">
                  <c:v>42697</c:v>
                </c:pt>
                <c:pt idx="1882">
                  <c:v>42698</c:v>
                </c:pt>
                <c:pt idx="1883">
                  <c:v>42699</c:v>
                </c:pt>
                <c:pt idx="1884">
                  <c:v>42700</c:v>
                </c:pt>
                <c:pt idx="1885">
                  <c:v>42701</c:v>
                </c:pt>
                <c:pt idx="1886">
                  <c:v>42702</c:v>
                </c:pt>
                <c:pt idx="1887">
                  <c:v>42703</c:v>
                </c:pt>
                <c:pt idx="1888">
                  <c:v>42704</c:v>
                </c:pt>
                <c:pt idx="1889">
                  <c:v>42705</c:v>
                </c:pt>
                <c:pt idx="1890">
                  <c:v>42706</c:v>
                </c:pt>
                <c:pt idx="1891">
                  <c:v>42707</c:v>
                </c:pt>
                <c:pt idx="1892">
                  <c:v>42708</c:v>
                </c:pt>
                <c:pt idx="1893">
                  <c:v>42709</c:v>
                </c:pt>
                <c:pt idx="1894">
                  <c:v>42710</c:v>
                </c:pt>
                <c:pt idx="1895">
                  <c:v>42711</c:v>
                </c:pt>
                <c:pt idx="1896">
                  <c:v>42712</c:v>
                </c:pt>
                <c:pt idx="1897">
                  <c:v>42713</c:v>
                </c:pt>
                <c:pt idx="1898">
                  <c:v>42714</c:v>
                </c:pt>
                <c:pt idx="1899">
                  <c:v>42715</c:v>
                </c:pt>
                <c:pt idx="1900">
                  <c:v>42716</c:v>
                </c:pt>
                <c:pt idx="1901">
                  <c:v>42717</c:v>
                </c:pt>
                <c:pt idx="1902">
                  <c:v>42718</c:v>
                </c:pt>
                <c:pt idx="1903">
                  <c:v>42719</c:v>
                </c:pt>
                <c:pt idx="1904">
                  <c:v>42720</c:v>
                </c:pt>
                <c:pt idx="1905">
                  <c:v>42721</c:v>
                </c:pt>
                <c:pt idx="1906">
                  <c:v>42722</c:v>
                </c:pt>
                <c:pt idx="1907">
                  <c:v>42723</c:v>
                </c:pt>
                <c:pt idx="1908">
                  <c:v>42724</c:v>
                </c:pt>
                <c:pt idx="1909">
                  <c:v>42725</c:v>
                </c:pt>
                <c:pt idx="1910">
                  <c:v>42726</c:v>
                </c:pt>
                <c:pt idx="1911">
                  <c:v>42727</c:v>
                </c:pt>
                <c:pt idx="1912">
                  <c:v>42728</c:v>
                </c:pt>
                <c:pt idx="1913">
                  <c:v>42729</c:v>
                </c:pt>
                <c:pt idx="1914">
                  <c:v>42730</c:v>
                </c:pt>
                <c:pt idx="1915">
                  <c:v>42731</c:v>
                </c:pt>
                <c:pt idx="1916">
                  <c:v>42732</c:v>
                </c:pt>
                <c:pt idx="1917">
                  <c:v>42733</c:v>
                </c:pt>
                <c:pt idx="1918">
                  <c:v>42734</c:v>
                </c:pt>
                <c:pt idx="1919">
                  <c:v>42735</c:v>
                </c:pt>
                <c:pt idx="1920">
                  <c:v>42736</c:v>
                </c:pt>
                <c:pt idx="1921">
                  <c:v>42737</c:v>
                </c:pt>
                <c:pt idx="1922">
                  <c:v>42738</c:v>
                </c:pt>
                <c:pt idx="1923">
                  <c:v>42739</c:v>
                </c:pt>
                <c:pt idx="1924">
                  <c:v>42740</c:v>
                </c:pt>
                <c:pt idx="1925">
                  <c:v>42741</c:v>
                </c:pt>
                <c:pt idx="1926">
                  <c:v>42742</c:v>
                </c:pt>
                <c:pt idx="1927">
                  <c:v>42743</c:v>
                </c:pt>
                <c:pt idx="1928">
                  <c:v>42744</c:v>
                </c:pt>
                <c:pt idx="1929">
                  <c:v>42745</c:v>
                </c:pt>
                <c:pt idx="1930">
                  <c:v>42746</c:v>
                </c:pt>
                <c:pt idx="1931">
                  <c:v>42747</c:v>
                </c:pt>
                <c:pt idx="1932">
                  <c:v>42748</c:v>
                </c:pt>
                <c:pt idx="1933">
                  <c:v>42749</c:v>
                </c:pt>
                <c:pt idx="1934">
                  <c:v>42750</c:v>
                </c:pt>
                <c:pt idx="1935">
                  <c:v>42751</c:v>
                </c:pt>
                <c:pt idx="1936">
                  <c:v>42752</c:v>
                </c:pt>
                <c:pt idx="1937">
                  <c:v>42753</c:v>
                </c:pt>
                <c:pt idx="1938">
                  <c:v>42754</c:v>
                </c:pt>
                <c:pt idx="1939">
                  <c:v>42755</c:v>
                </c:pt>
                <c:pt idx="1940">
                  <c:v>42756</c:v>
                </c:pt>
                <c:pt idx="1941">
                  <c:v>42757</c:v>
                </c:pt>
                <c:pt idx="1942">
                  <c:v>42758</c:v>
                </c:pt>
                <c:pt idx="1943">
                  <c:v>42759</c:v>
                </c:pt>
                <c:pt idx="1944">
                  <c:v>42760</c:v>
                </c:pt>
                <c:pt idx="1945">
                  <c:v>42761</c:v>
                </c:pt>
                <c:pt idx="1946">
                  <c:v>42762</c:v>
                </c:pt>
                <c:pt idx="1947">
                  <c:v>42763</c:v>
                </c:pt>
                <c:pt idx="1948">
                  <c:v>42764</c:v>
                </c:pt>
                <c:pt idx="1949">
                  <c:v>42765</c:v>
                </c:pt>
                <c:pt idx="1950">
                  <c:v>42766</c:v>
                </c:pt>
                <c:pt idx="1951">
                  <c:v>42767</c:v>
                </c:pt>
                <c:pt idx="1952">
                  <c:v>42768</c:v>
                </c:pt>
                <c:pt idx="1953">
                  <c:v>42769</c:v>
                </c:pt>
                <c:pt idx="1954">
                  <c:v>42770</c:v>
                </c:pt>
                <c:pt idx="1955">
                  <c:v>42771</c:v>
                </c:pt>
                <c:pt idx="1956">
                  <c:v>42772</c:v>
                </c:pt>
                <c:pt idx="1957">
                  <c:v>42773</c:v>
                </c:pt>
                <c:pt idx="1958">
                  <c:v>42774</c:v>
                </c:pt>
                <c:pt idx="1959">
                  <c:v>42775</c:v>
                </c:pt>
                <c:pt idx="1960">
                  <c:v>42776</c:v>
                </c:pt>
                <c:pt idx="1961">
                  <c:v>42777</c:v>
                </c:pt>
                <c:pt idx="1962">
                  <c:v>42778</c:v>
                </c:pt>
                <c:pt idx="1963">
                  <c:v>42779</c:v>
                </c:pt>
                <c:pt idx="1964">
                  <c:v>42780</c:v>
                </c:pt>
                <c:pt idx="1965">
                  <c:v>42781</c:v>
                </c:pt>
                <c:pt idx="1966">
                  <c:v>42782</c:v>
                </c:pt>
                <c:pt idx="1967">
                  <c:v>42783</c:v>
                </c:pt>
                <c:pt idx="1968">
                  <c:v>42784</c:v>
                </c:pt>
                <c:pt idx="1969">
                  <c:v>42785</c:v>
                </c:pt>
                <c:pt idx="1970">
                  <c:v>42786</c:v>
                </c:pt>
                <c:pt idx="1971">
                  <c:v>42787</c:v>
                </c:pt>
                <c:pt idx="1972">
                  <c:v>42788</c:v>
                </c:pt>
                <c:pt idx="1973">
                  <c:v>42789</c:v>
                </c:pt>
                <c:pt idx="1974">
                  <c:v>42790</c:v>
                </c:pt>
                <c:pt idx="1975">
                  <c:v>42791</c:v>
                </c:pt>
                <c:pt idx="1976">
                  <c:v>42792</c:v>
                </c:pt>
                <c:pt idx="1977">
                  <c:v>42793</c:v>
                </c:pt>
                <c:pt idx="1978">
                  <c:v>42794</c:v>
                </c:pt>
                <c:pt idx="1979">
                  <c:v>42795</c:v>
                </c:pt>
                <c:pt idx="1980">
                  <c:v>42796</c:v>
                </c:pt>
                <c:pt idx="1981">
                  <c:v>42797</c:v>
                </c:pt>
                <c:pt idx="1982">
                  <c:v>42798</c:v>
                </c:pt>
                <c:pt idx="1983">
                  <c:v>42799</c:v>
                </c:pt>
                <c:pt idx="1984">
                  <c:v>42800</c:v>
                </c:pt>
                <c:pt idx="1985">
                  <c:v>42801</c:v>
                </c:pt>
                <c:pt idx="1986">
                  <c:v>42802</c:v>
                </c:pt>
                <c:pt idx="1987">
                  <c:v>42803</c:v>
                </c:pt>
                <c:pt idx="1988">
                  <c:v>42804</c:v>
                </c:pt>
                <c:pt idx="1989">
                  <c:v>42805</c:v>
                </c:pt>
                <c:pt idx="1990">
                  <c:v>42806</c:v>
                </c:pt>
                <c:pt idx="1991">
                  <c:v>42807</c:v>
                </c:pt>
                <c:pt idx="1992">
                  <c:v>42808</c:v>
                </c:pt>
                <c:pt idx="1993">
                  <c:v>42809</c:v>
                </c:pt>
                <c:pt idx="1994">
                  <c:v>42810</c:v>
                </c:pt>
                <c:pt idx="1995">
                  <c:v>42811</c:v>
                </c:pt>
                <c:pt idx="1996">
                  <c:v>42812</c:v>
                </c:pt>
                <c:pt idx="1997">
                  <c:v>42813</c:v>
                </c:pt>
                <c:pt idx="1998">
                  <c:v>42814</c:v>
                </c:pt>
                <c:pt idx="1999">
                  <c:v>42815</c:v>
                </c:pt>
                <c:pt idx="2000">
                  <c:v>42816</c:v>
                </c:pt>
                <c:pt idx="2001">
                  <c:v>42817</c:v>
                </c:pt>
                <c:pt idx="2002">
                  <c:v>42818</c:v>
                </c:pt>
                <c:pt idx="2003">
                  <c:v>42819</c:v>
                </c:pt>
                <c:pt idx="2004">
                  <c:v>42820</c:v>
                </c:pt>
                <c:pt idx="2005">
                  <c:v>42821</c:v>
                </c:pt>
                <c:pt idx="2006">
                  <c:v>42822</c:v>
                </c:pt>
                <c:pt idx="2007">
                  <c:v>42823</c:v>
                </c:pt>
                <c:pt idx="2008">
                  <c:v>42824</c:v>
                </c:pt>
                <c:pt idx="2009">
                  <c:v>42825</c:v>
                </c:pt>
                <c:pt idx="2010">
                  <c:v>42826</c:v>
                </c:pt>
                <c:pt idx="2011">
                  <c:v>42827</c:v>
                </c:pt>
                <c:pt idx="2012">
                  <c:v>42828</c:v>
                </c:pt>
                <c:pt idx="2013">
                  <c:v>42829</c:v>
                </c:pt>
                <c:pt idx="2014">
                  <c:v>42830</c:v>
                </c:pt>
                <c:pt idx="2015">
                  <c:v>42831</c:v>
                </c:pt>
                <c:pt idx="2016">
                  <c:v>42832</c:v>
                </c:pt>
                <c:pt idx="2017">
                  <c:v>42833</c:v>
                </c:pt>
                <c:pt idx="2018">
                  <c:v>42834</c:v>
                </c:pt>
                <c:pt idx="2019">
                  <c:v>42835</c:v>
                </c:pt>
                <c:pt idx="2020">
                  <c:v>42836</c:v>
                </c:pt>
                <c:pt idx="2021">
                  <c:v>42837</c:v>
                </c:pt>
                <c:pt idx="2022">
                  <c:v>42838</c:v>
                </c:pt>
                <c:pt idx="2023">
                  <c:v>42839</c:v>
                </c:pt>
                <c:pt idx="2024">
                  <c:v>42840</c:v>
                </c:pt>
                <c:pt idx="2025">
                  <c:v>42841</c:v>
                </c:pt>
                <c:pt idx="2026">
                  <c:v>42842</c:v>
                </c:pt>
                <c:pt idx="2027">
                  <c:v>42843</c:v>
                </c:pt>
                <c:pt idx="2028">
                  <c:v>42844</c:v>
                </c:pt>
                <c:pt idx="2029">
                  <c:v>42845</c:v>
                </c:pt>
                <c:pt idx="2030">
                  <c:v>42846</c:v>
                </c:pt>
                <c:pt idx="2031">
                  <c:v>42847</c:v>
                </c:pt>
                <c:pt idx="2032">
                  <c:v>42848</c:v>
                </c:pt>
                <c:pt idx="2033">
                  <c:v>42849</c:v>
                </c:pt>
                <c:pt idx="2034">
                  <c:v>42850</c:v>
                </c:pt>
                <c:pt idx="2035">
                  <c:v>42851</c:v>
                </c:pt>
                <c:pt idx="2036">
                  <c:v>42852</c:v>
                </c:pt>
                <c:pt idx="2037">
                  <c:v>42853</c:v>
                </c:pt>
                <c:pt idx="2038">
                  <c:v>42854</c:v>
                </c:pt>
                <c:pt idx="2039">
                  <c:v>42855</c:v>
                </c:pt>
                <c:pt idx="2040">
                  <c:v>42856</c:v>
                </c:pt>
                <c:pt idx="2041">
                  <c:v>42857</c:v>
                </c:pt>
                <c:pt idx="2042">
                  <c:v>42858</c:v>
                </c:pt>
                <c:pt idx="2043">
                  <c:v>42859</c:v>
                </c:pt>
                <c:pt idx="2044">
                  <c:v>42860</c:v>
                </c:pt>
                <c:pt idx="2045">
                  <c:v>42861</c:v>
                </c:pt>
                <c:pt idx="2046">
                  <c:v>42862</c:v>
                </c:pt>
                <c:pt idx="2047">
                  <c:v>42863</c:v>
                </c:pt>
                <c:pt idx="2048">
                  <c:v>42864</c:v>
                </c:pt>
                <c:pt idx="2049">
                  <c:v>42865</c:v>
                </c:pt>
                <c:pt idx="2050">
                  <c:v>42866</c:v>
                </c:pt>
                <c:pt idx="2051">
                  <c:v>42867</c:v>
                </c:pt>
                <c:pt idx="2052">
                  <c:v>42868</c:v>
                </c:pt>
                <c:pt idx="2053">
                  <c:v>42869</c:v>
                </c:pt>
                <c:pt idx="2054">
                  <c:v>42870</c:v>
                </c:pt>
                <c:pt idx="2055">
                  <c:v>42871</c:v>
                </c:pt>
                <c:pt idx="2056">
                  <c:v>42872</c:v>
                </c:pt>
                <c:pt idx="2057">
                  <c:v>42873</c:v>
                </c:pt>
                <c:pt idx="2058">
                  <c:v>42874</c:v>
                </c:pt>
                <c:pt idx="2059">
                  <c:v>42875</c:v>
                </c:pt>
                <c:pt idx="2060">
                  <c:v>42876</c:v>
                </c:pt>
                <c:pt idx="2061">
                  <c:v>42877</c:v>
                </c:pt>
                <c:pt idx="2062">
                  <c:v>42878</c:v>
                </c:pt>
                <c:pt idx="2063">
                  <c:v>42879</c:v>
                </c:pt>
                <c:pt idx="2064">
                  <c:v>42880</c:v>
                </c:pt>
                <c:pt idx="2065">
                  <c:v>42881</c:v>
                </c:pt>
                <c:pt idx="2066">
                  <c:v>42882</c:v>
                </c:pt>
                <c:pt idx="2067">
                  <c:v>42883</c:v>
                </c:pt>
                <c:pt idx="2068">
                  <c:v>42884</c:v>
                </c:pt>
                <c:pt idx="2069">
                  <c:v>42885</c:v>
                </c:pt>
                <c:pt idx="2070">
                  <c:v>42886</c:v>
                </c:pt>
                <c:pt idx="2071">
                  <c:v>42887</c:v>
                </c:pt>
                <c:pt idx="2072">
                  <c:v>42888</c:v>
                </c:pt>
                <c:pt idx="2073">
                  <c:v>42889</c:v>
                </c:pt>
                <c:pt idx="2074">
                  <c:v>42890</c:v>
                </c:pt>
                <c:pt idx="2075">
                  <c:v>42891</c:v>
                </c:pt>
                <c:pt idx="2076">
                  <c:v>42892</c:v>
                </c:pt>
                <c:pt idx="2077">
                  <c:v>42893</c:v>
                </c:pt>
                <c:pt idx="2078">
                  <c:v>42894</c:v>
                </c:pt>
                <c:pt idx="2079">
                  <c:v>42895</c:v>
                </c:pt>
                <c:pt idx="2080">
                  <c:v>42896</c:v>
                </c:pt>
                <c:pt idx="2081">
                  <c:v>42897</c:v>
                </c:pt>
                <c:pt idx="2082">
                  <c:v>42898</c:v>
                </c:pt>
                <c:pt idx="2083">
                  <c:v>42899</c:v>
                </c:pt>
                <c:pt idx="2084">
                  <c:v>42900</c:v>
                </c:pt>
                <c:pt idx="2085">
                  <c:v>42901</c:v>
                </c:pt>
                <c:pt idx="2086">
                  <c:v>42902</c:v>
                </c:pt>
                <c:pt idx="2087">
                  <c:v>42903</c:v>
                </c:pt>
                <c:pt idx="2088">
                  <c:v>42904</c:v>
                </c:pt>
                <c:pt idx="2089">
                  <c:v>42905</c:v>
                </c:pt>
                <c:pt idx="2090">
                  <c:v>42906</c:v>
                </c:pt>
                <c:pt idx="2091">
                  <c:v>42907</c:v>
                </c:pt>
                <c:pt idx="2092">
                  <c:v>42908</c:v>
                </c:pt>
                <c:pt idx="2093">
                  <c:v>42909</c:v>
                </c:pt>
                <c:pt idx="2094">
                  <c:v>42910</c:v>
                </c:pt>
                <c:pt idx="2095">
                  <c:v>42911</c:v>
                </c:pt>
                <c:pt idx="2096">
                  <c:v>42912</c:v>
                </c:pt>
                <c:pt idx="2097">
                  <c:v>42913</c:v>
                </c:pt>
                <c:pt idx="2098">
                  <c:v>42914</c:v>
                </c:pt>
                <c:pt idx="2099">
                  <c:v>42915</c:v>
                </c:pt>
                <c:pt idx="2100">
                  <c:v>42916</c:v>
                </c:pt>
                <c:pt idx="2101">
                  <c:v>42917</c:v>
                </c:pt>
                <c:pt idx="2102">
                  <c:v>42918</c:v>
                </c:pt>
                <c:pt idx="2103">
                  <c:v>42919</c:v>
                </c:pt>
                <c:pt idx="2104">
                  <c:v>42920</c:v>
                </c:pt>
                <c:pt idx="2105">
                  <c:v>42921</c:v>
                </c:pt>
                <c:pt idx="2106">
                  <c:v>42922</c:v>
                </c:pt>
                <c:pt idx="2107">
                  <c:v>42923</c:v>
                </c:pt>
                <c:pt idx="2108">
                  <c:v>42924</c:v>
                </c:pt>
                <c:pt idx="2109">
                  <c:v>42925</c:v>
                </c:pt>
                <c:pt idx="2110">
                  <c:v>42926</c:v>
                </c:pt>
                <c:pt idx="2111">
                  <c:v>42927</c:v>
                </c:pt>
                <c:pt idx="2112">
                  <c:v>42928</c:v>
                </c:pt>
                <c:pt idx="2113">
                  <c:v>42929</c:v>
                </c:pt>
                <c:pt idx="2114">
                  <c:v>42930</c:v>
                </c:pt>
                <c:pt idx="2115">
                  <c:v>42931</c:v>
                </c:pt>
                <c:pt idx="2116">
                  <c:v>42932</c:v>
                </c:pt>
                <c:pt idx="2117">
                  <c:v>42933</c:v>
                </c:pt>
                <c:pt idx="2118">
                  <c:v>42934</c:v>
                </c:pt>
                <c:pt idx="2119">
                  <c:v>42935</c:v>
                </c:pt>
                <c:pt idx="2120">
                  <c:v>42936</c:v>
                </c:pt>
                <c:pt idx="2121">
                  <c:v>42937</c:v>
                </c:pt>
                <c:pt idx="2122">
                  <c:v>42938</c:v>
                </c:pt>
                <c:pt idx="2123">
                  <c:v>42939</c:v>
                </c:pt>
                <c:pt idx="2124">
                  <c:v>42940</c:v>
                </c:pt>
                <c:pt idx="2125">
                  <c:v>42941</c:v>
                </c:pt>
                <c:pt idx="2126">
                  <c:v>42942</c:v>
                </c:pt>
                <c:pt idx="2127">
                  <c:v>42943</c:v>
                </c:pt>
                <c:pt idx="2128">
                  <c:v>42944</c:v>
                </c:pt>
                <c:pt idx="2129">
                  <c:v>42945</c:v>
                </c:pt>
                <c:pt idx="2130">
                  <c:v>42946</c:v>
                </c:pt>
                <c:pt idx="2131">
                  <c:v>42947</c:v>
                </c:pt>
                <c:pt idx="2132">
                  <c:v>42948</c:v>
                </c:pt>
                <c:pt idx="2133">
                  <c:v>42949</c:v>
                </c:pt>
                <c:pt idx="2134">
                  <c:v>42950</c:v>
                </c:pt>
                <c:pt idx="2135">
                  <c:v>42951</c:v>
                </c:pt>
                <c:pt idx="2136">
                  <c:v>42952</c:v>
                </c:pt>
                <c:pt idx="2137">
                  <c:v>42953</c:v>
                </c:pt>
                <c:pt idx="2138">
                  <c:v>42954</c:v>
                </c:pt>
                <c:pt idx="2139">
                  <c:v>42955</c:v>
                </c:pt>
                <c:pt idx="2140">
                  <c:v>42956</c:v>
                </c:pt>
                <c:pt idx="2141">
                  <c:v>42957</c:v>
                </c:pt>
                <c:pt idx="2142">
                  <c:v>42958</c:v>
                </c:pt>
                <c:pt idx="2143">
                  <c:v>42959</c:v>
                </c:pt>
                <c:pt idx="2144">
                  <c:v>42960</c:v>
                </c:pt>
                <c:pt idx="2145">
                  <c:v>42961</c:v>
                </c:pt>
                <c:pt idx="2146">
                  <c:v>42962</c:v>
                </c:pt>
                <c:pt idx="2147">
                  <c:v>42963</c:v>
                </c:pt>
                <c:pt idx="2148">
                  <c:v>42964</c:v>
                </c:pt>
                <c:pt idx="2149">
                  <c:v>42965</c:v>
                </c:pt>
                <c:pt idx="2150">
                  <c:v>42966</c:v>
                </c:pt>
                <c:pt idx="2151">
                  <c:v>42967</c:v>
                </c:pt>
                <c:pt idx="2152">
                  <c:v>42968</c:v>
                </c:pt>
                <c:pt idx="2153">
                  <c:v>42969</c:v>
                </c:pt>
                <c:pt idx="2154">
                  <c:v>42970</c:v>
                </c:pt>
                <c:pt idx="2155">
                  <c:v>42971</c:v>
                </c:pt>
                <c:pt idx="2156">
                  <c:v>42972</c:v>
                </c:pt>
                <c:pt idx="2157">
                  <c:v>42973</c:v>
                </c:pt>
                <c:pt idx="2158">
                  <c:v>42974</c:v>
                </c:pt>
                <c:pt idx="2159">
                  <c:v>42975</c:v>
                </c:pt>
                <c:pt idx="2160">
                  <c:v>42976</c:v>
                </c:pt>
                <c:pt idx="2161">
                  <c:v>42977</c:v>
                </c:pt>
                <c:pt idx="2162">
                  <c:v>42978</c:v>
                </c:pt>
                <c:pt idx="2163">
                  <c:v>42979</c:v>
                </c:pt>
                <c:pt idx="2164">
                  <c:v>42980</c:v>
                </c:pt>
                <c:pt idx="2165">
                  <c:v>42981</c:v>
                </c:pt>
                <c:pt idx="2166">
                  <c:v>42982</c:v>
                </c:pt>
                <c:pt idx="2167">
                  <c:v>42983</c:v>
                </c:pt>
                <c:pt idx="2168">
                  <c:v>42984</c:v>
                </c:pt>
                <c:pt idx="2169">
                  <c:v>42985</c:v>
                </c:pt>
                <c:pt idx="2170">
                  <c:v>42986</c:v>
                </c:pt>
                <c:pt idx="2171">
                  <c:v>42987</c:v>
                </c:pt>
                <c:pt idx="2172">
                  <c:v>42988</c:v>
                </c:pt>
                <c:pt idx="2173">
                  <c:v>42989</c:v>
                </c:pt>
                <c:pt idx="2174">
                  <c:v>42990</c:v>
                </c:pt>
                <c:pt idx="2175">
                  <c:v>42991</c:v>
                </c:pt>
                <c:pt idx="2176">
                  <c:v>42992</c:v>
                </c:pt>
                <c:pt idx="2177">
                  <c:v>42993</c:v>
                </c:pt>
                <c:pt idx="2178">
                  <c:v>42994</c:v>
                </c:pt>
                <c:pt idx="2179">
                  <c:v>42995</c:v>
                </c:pt>
                <c:pt idx="2180">
                  <c:v>42996</c:v>
                </c:pt>
                <c:pt idx="2181">
                  <c:v>42997</c:v>
                </c:pt>
                <c:pt idx="2182">
                  <c:v>42998</c:v>
                </c:pt>
                <c:pt idx="2183">
                  <c:v>42999</c:v>
                </c:pt>
                <c:pt idx="2184">
                  <c:v>43000</c:v>
                </c:pt>
                <c:pt idx="2185">
                  <c:v>43001</c:v>
                </c:pt>
                <c:pt idx="2186">
                  <c:v>43002</c:v>
                </c:pt>
                <c:pt idx="2187">
                  <c:v>43003</c:v>
                </c:pt>
                <c:pt idx="2188">
                  <c:v>43004</c:v>
                </c:pt>
                <c:pt idx="2189">
                  <c:v>43005</c:v>
                </c:pt>
                <c:pt idx="2190">
                  <c:v>43006</c:v>
                </c:pt>
                <c:pt idx="2191">
                  <c:v>43007</c:v>
                </c:pt>
                <c:pt idx="2192">
                  <c:v>43008</c:v>
                </c:pt>
                <c:pt idx="2193">
                  <c:v>43009</c:v>
                </c:pt>
                <c:pt idx="2194">
                  <c:v>43010</c:v>
                </c:pt>
                <c:pt idx="2195">
                  <c:v>43011</c:v>
                </c:pt>
                <c:pt idx="2196">
                  <c:v>43012</c:v>
                </c:pt>
                <c:pt idx="2197">
                  <c:v>43013</c:v>
                </c:pt>
                <c:pt idx="2198">
                  <c:v>43014</c:v>
                </c:pt>
                <c:pt idx="2199">
                  <c:v>43015</c:v>
                </c:pt>
                <c:pt idx="2200">
                  <c:v>43016</c:v>
                </c:pt>
                <c:pt idx="2201">
                  <c:v>43017</c:v>
                </c:pt>
                <c:pt idx="2202">
                  <c:v>43018</c:v>
                </c:pt>
                <c:pt idx="2203">
                  <c:v>43019</c:v>
                </c:pt>
                <c:pt idx="2204">
                  <c:v>43020</c:v>
                </c:pt>
                <c:pt idx="2205">
                  <c:v>43021</c:v>
                </c:pt>
                <c:pt idx="2206">
                  <c:v>43022</c:v>
                </c:pt>
                <c:pt idx="2207">
                  <c:v>43023</c:v>
                </c:pt>
                <c:pt idx="2208">
                  <c:v>43024</c:v>
                </c:pt>
                <c:pt idx="2209">
                  <c:v>43025</c:v>
                </c:pt>
                <c:pt idx="2210">
                  <c:v>43026</c:v>
                </c:pt>
                <c:pt idx="2211">
                  <c:v>43027</c:v>
                </c:pt>
                <c:pt idx="2212">
                  <c:v>43028</c:v>
                </c:pt>
                <c:pt idx="2213">
                  <c:v>43029</c:v>
                </c:pt>
                <c:pt idx="2214">
                  <c:v>43030</c:v>
                </c:pt>
                <c:pt idx="2215">
                  <c:v>43031</c:v>
                </c:pt>
                <c:pt idx="2216">
                  <c:v>43032</c:v>
                </c:pt>
                <c:pt idx="2217">
                  <c:v>43033</c:v>
                </c:pt>
                <c:pt idx="2218">
                  <c:v>43034</c:v>
                </c:pt>
                <c:pt idx="2219">
                  <c:v>43035</c:v>
                </c:pt>
                <c:pt idx="2220">
                  <c:v>43036</c:v>
                </c:pt>
                <c:pt idx="2221">
                  <c:v>43037</c:v>
                </c:pt>
                <c:pt idx="2222">
                  <c:v>43038</c:v>
                </c:pt>
                <c:pt idx="2223">
                  <c:v>43039</c:v>
                </c:pt>
                <c:pt idx="2224">
                  <c:v>43040</c:v>
                </c:pt>
                <c:pt idx="2225">
                  <c:v>43041</c:v>
                </c:pt>
                <c:pt idx="2226">
                  <c:v>43042</c:v>
                </c:pt>
                <c:pt idx="2227">
                  <c:v>43043</c:v>
                </c:pt>
                <c:pt idx="2228">
                  <c:v>43044</c:v>
                </c:pt>
                <c:pt idx="2229">
                  <c:v>43045</c:v>
                </c:pt>
                <c:pt idx="2230">
                  <c:v>43046</c:v>
                </c:pt>
                <c:pt idx="2231">
                  <c:v>43047</c:v>
                </c:pt>
                <c:pt idx="2232">
                  <c:v>43048</c:v>
                </c:pt>
                <c:pt idx="2233">
                  <c:v>43049</c:v>
                </c:pt>
                <c:pt idx="2234">
                  <c:v>43050</c:v>
                </c:pt>
                <c:pt idx="2235">
                  <c:v>43051</c:v>
                </c:pt>
                <c:pt idx="2236">
                  <c:v>43052</c:v>
                </c:pt>
                <c:pt idx="2237">
                  <c:v>43053</c:v>
                </c:pt>
                <c:pt idx="2238">
                  <c:v>43054</c:v>
                </c:pt>
                <c:pt idx="2239">
                  <c:v>43055</c:v>
                </c:pt>
                <c:pt idx="2240">
                  <c:v>43056</c:v>
                </c:pt>
                <c:pt idx="2241">
                  <c:v>43057</c:v>
                </c:pt>
                <c:pt idx="2242">
                  <c:v>43058</c:v>
                </c:pt>
                <c:pt idx="2243">
                  <c:v>43059</c:v>
                </c:pt>
                <c:pt idx="2244">
                  <c:v>43060</c:v>
                </c:pt>
                <c:pt idx="2245">
                  <c:v>43061</c:v>
                </c:pt>
                <c:pt idx="2246">
                  <c:v>43062</c:v>
                </c:pt>
                <c:pt idx="2247">
                  <c:v>43063</c:v>
                </c:pt>
                <c:pt idx="2248">
                  <c:v>43064</c:v>
                </c:pt>
                <c:pt idx="2249">
                  <c:v>43065</c:v>
                </c:pt>
                <c:pt idx="2250">
                  <c:v>43066</c:v>
                </c:pt>
                <c:pt idx="2251">
                  <c:v>43067</c:v>
                </c:pt>
                <c:pt idx="2252">
                  <c:v>43068</c:v>
                </c:pt>
                <c:pt idx="2253">
                  <c:v>43069</c:v>
                </c:pt>
                <c:pt idx="2254">
                  <c:v>43070</c:v>
                </c:pt>
                <c:pt idx="2255">
                  <c:v>43071</c:v>
                </c:pt>
                <c:pt idx="2256">
                  <c:v>43072</c:v>
                </c:pt>
                <c:pt idx="2257">
                  <c:v>43073</c:v>
                </c:pt>
                <c:pt idx="2258">
                  <c:v>43074</c:v>
                </c:pt>
                <c:pt idx="2259">
                  <c:v>43075</c:v>
                </c:pt>
                <c:pt idx="2260">
                  <c:v>43076</c:v>
                </c:pt>
                <c:pt idx="2261">
                  <c:v>43077</c:v>
                </c:pt>
                <c:pt idx="2262">
                  <c:v>43078</c:v>
                </c:pt>
                <c:pt idx="2263">
                  <c:v>43079</c:v>
                </c:pt>
                <c:pt idx="2264">
                  <c:v>43080</c:v>
                </c:pt>
                <c:pt idx="2265">
                  <c:v>43081</c:v>
                </c:pt>
                <c:pt idx="2266">
                  <c:v>43082</c:v>
                </c:pt>
                <c:pt idx="2267">
                  <c:v>43083</c:v>
                </c:pt>
                <c:pt idx="2268">
                  <c:v>43084</c:v>
                </c:pt>
                <c:pt idx="2269">
                  <c:v>43085</c:v>
                </c:pt>
                <c:pt idx="2270">
                  <c:v>43086</c:v>
                </c:pt>
                <c:pt idx="2271">
                  <c:v>43087</c:v>
                </c:pt>
                <c:pt idx="2272">
                  <c:v>43088</c:v>
                </c:pt>
                <c:pt idx="2273">
                  <c:v>43089</c:v>
                </c:pt>
                <c:pt idx="2274">
                  <c:v>43090</c:v>
                </c:pt>
                <c:pt idx="2275">
                  <c:v>43091</c:v>
                </c:pt>
                <c:pt idx="2276">
                  <c:v>43092</c:v>
                </c:pt>
                <c:pt idx="2277">
                  <c:v>43093</c:v>
                </c:pt>
                <c:pt idx="2278">
                  <c:v>43094</c:v>
                </c:pt>
                <c:pt idx="2279">
                  <c:v>43095</c:v>
                </c:pt>
                <c:pt idx="2280">
                  <c:v>43096</c:v>
                </c:pt>
                <c:pt idx="2281">
                  <c:v>43097</c:v>
                </c:pt>
                <c:pt idx="2282">
                  <c:v>43098</c:v>
                </c:pt>
                <c:pt idx="2283">
                  <c:v>43099</c:v>
                </c:pt>
                <c:pt idx="2284">
                  <c:v>43100</c:v>
                </c:pt>
                <c:pt idx="2285">
                  <c:v>43101</c:v>
                </c:pt>
                <c:pt idx="2286">
                  <c:v>43102</c:v>
                </c:pt>
                <c:pt idx="2287">
                  <c:v>43103</c:v>
                </c:pt>
                <c:pt idx="2288">
                  <c:v>43104</c:v>
                </c:pt>
                <c:pt idx="2289">
                  <c:v>43105</c:v>
                </c:pt>
                <c:pt idx="2290">
                  <c:v>43106</c:v>
                </c:pt>
                <c:pt idx="2291">
                  <c:v>43107</c:v>
                </c:pt>
                <c:pt idx="2292">
                  <c:v>43108</c:v>
                </c:pt>
                <c:pt idx="2293">
                  <c:v>43109</c:v>
                </c:pt>
                <c:pt idx="2294">
                  <c:v>43110</c:v>
                </c:pt>
                <c:pt idx="2295">
                  <c:v>43111</c:v>
                </c:pt>
                <c:pt idx="2296">
                  <c:v>43112</c:v>
                </c:pt>
                <c:pt idx="2297">
                  <c:v>43113</c:v>
                </c:pt>
                <c:pt idx="2298">
                  <c:v>43114</c:v>
                </c:pt>
                <c:pt idx="2299">
                  <c:v>43115</c:v>
                </c:pt>
                <c:pt idx="2300">
                  <c:v>43116</c:v>
                </c:pt>
                <c:pt idx="2301">
                  <c:v>43117</c:v>
                </c:pt>
                <c:pt idx="2302">
                  <c:v>43118</c:v>
                </c:pt>
                <c:pt idx="2303">
                  <c:v>43119</c:v>
                </c:pt>
                <c:pt idx="2304">
                  <c:v>43120</c:v>
                </c:pt>
                <c:pt idx="2305">
                  <c:v>43121</c:v>
                </c:pt>
                <c:pt idx="2306">
                  <c:v>43122</c:v>
                </c:pt>
                <c:pt idx="2307">
                  <c:v>43123</c:v>
                </c:pt>
                <c:pt idx="2308">
                  <c:v>43124</c:v>
                </c:pt>
                <c:pt idx="2309">
                  <c:v>43125</c:v>
                </c:pt>
                <c:pt idx="2310">
                  <c:v>43126</c:v>
                </c:pt>
                <c:pt idx="2311">
                  <c:v>43127</c:v>
                </c:pt>
                <c:pt idx="2312">
                  <c:v>43128</c:v>
                </c:pt>
                <c:pt idx="2313">
                  <c:v>43129</c:v>
                </c:pt>
                <c:pt idx="2314">
                  <c:v>43130</c:v>
                </c:pt>
                <c:pt idx="2315">
                  <c:v>43131</c:v>
                </c:pt>
                <c:pt idx="2316">
                  <c:v>43132</c:v>
                </c:pt>
                <c:pt idx="2317">
                  <c:v>43133</c:v>
                </c:pt>
                <c:pt idx="2318">
                  <c:v>43134</c:v>
                </c:pt>
                <c:pt idx="2319">
                  <c:v>43135</c:v>
                </c:pt>
                <c:pt idx="2320">
                  <c:v>43136</c:v>
                </c:pt>
                <c:pt idx="2321">
                  <c:v>43137</c:v>
                </c:pt>
                <c:pt idx="2322">
                  <c:v>43138</c:v>
                </c:pt>
                <c:pt idx="2323">
                  <c:v>43139</c:v>
                </c:pt>
                <c:pt idx="2324">
                  <c:v>43140</c:v>
                </c:pt>
                <c:pt idx="2325">
                  <c:v>43141</c:v>
                </c:pt>
                <c:pt idx="2326">
                  <c:v>43142</c:v>
                </c:pt>
                <c:pt idx="2327">
                  <c:v>43143</c:v>
                </c:pt>
                <c:pt idx="2328">
                  <c:v>43144</c:v>
                </c:pt>
                <c:pt idx="2329">
                  <c:v>43145</c:v>
                </c:pt>
                <c:pt idx="2330">
                  <c:v>43146</c:v>
                </c:pt>
                <c:pt idx="2331">
                  <c:v>43147</c:v>
                </c:pt>
                <c:pt idx="2332">
                  <c:v>43148</c:v>
                </c:pt>
                <c:pt idx="2333">
                  <c:v>43149</c:v>
                </c:pt>
                <c:pt idx="2334">
                  <c:v>43150</c:v>
                </c:pt>
                <c:pt idx="2335">
                  <c:v>43151</c:v>
                </c:pt>
                <c:pt idx="2336">
                  <c:v>43152</c:v>
                </c:pt>
                <c:pt idx="2337">
                  <c:v>43153</c:v>
                </c:pt>
                <c:pt idx="2338">
                  <c:v>43154</c:v>
                </c:pt>
                <c:pt idx="2339">
                  <c:v>43155</c:v>
                </c:pt>
                <c:pt idx="2340">
                  <c:v>43156</c:v>
                </c:pt>
                <c:pt idx="2341">
                  <c:v>43157</c:v>
                </c:pt>
                <c:pt idx="2342">
                  <c:v>43158</c:v>
                </c:pt>
                <c:pt idx="2343">
                  <c:v>43159</c:v>
                </c:pt>
                <c:pt idx="2344">
                  <c:v>43160</c:v>
                </c:pt>
                <c:pt idx="2345">
                  <c:v>43161</c:v>
                </c:pt>
                <c:pt idx="2346">
                  <c:v>43162</c:v>
                </c:pt>
                <c:pt idx="2347">
                  <c:v>43163</c:v>
                </c:pt>
                <c:pt idx="2348">
                  <c:v>43164</c:v>
                </c:pt>
                <c:pt idx="2349">
                  <c:v>43165</c:v>
                </c:pt>
                <c:pt idx="2350">
                  <c:v>43166</c:v>
                </c:pt>
                <c:pt idx="2351">
                  <c:v>43167</c:v>
                </c:pt>
                <c:pt idx="2352">
                  <c:v>43168</c:v>
                </c:pt>
                <c:pt idx="2353">
                  <c:v>43169</c:v>
                </c:pt>
                <c:pt idx="2354">
                  <c:v>43170</c:v>
                </c:pt>
                <c:pt idx="2355">
                  <c:v>43171</c:v>
                </c:pt>
                <c:pt idx="2356">
                  <c:v>43172</c:v>
                </c:pt>
                <c:pt idx="2357">
                  <c:v>43173</c:v>
                </c:pt>
                <c:pt idx="2358">
                  <c:v>43174</c:v>
                </c:pt>
                <c:pt idx="2359">
                  <c:v>43175</c:v>
                </c:pt>
                <c:pt idx="2360">
                  <c:v>43176</c:v>
                </c:pt>
                <c:pt idx="2361">
                  <c:v>43177</c:v>
                </c:pt>
                <c:pt idx="2362">
                  <c:v>43178</c:v>
                </c:pt>
                <c:pt idx="2363">
                  <c:v>43179</c:v>
                </c:pt>
                <c:pt idx="2364">
                  <c:v>43180</c:v>
                </c:pt>
                <c:pt idx="2365">
                  <c:v>43181</c:v>
                </c:pt>
                <c:pt idx="2366">
                  <c:v>43182</c:v>
                </c:pt>
                <c:pt idx="2367">
                  <c:v>43183</c:v>
                </c:pt>
                <c:pt idx="2368">
                  <c:v>43184</c:v>
                </c:pt>
                <c:pt idx="2369">
                  <c:v>43185</c:v>
                </c:pt>
                <c:pt idx="2370">
                  <c:v>43186</c:v>
                </c:pt>
                <c:pt idx="2371">
                  <c:v>43187</c:v>
                </c:pt>
                <c:pt idx="2372">
                  <c:v>43188</c:v>
                </c:pt>
                <c:pt idx="2373">
                  <c:v>43189</c:v>
                </c:pt>
                <c:pt idx="2374">
                  <c:v>43190</c:v>
                </c:pt>
                <c:pt idx="2375">
                  <c:v>43191</c:v>
                </c:pt>
                <c:pt idx="2376">
                  <c:v>43192</c:v>
                </c:pt>
                <c:pt idx="2377">
                  <c:v>43193</c:v>
                </c:pt>
                <c:pt idx="2378">
                  <c:v>43194</c:v>
                </c:pt>
                <c:pt idx="2379">
                  <c:v>43195</c:v>
                </c:pt>
                <c:pt idx="2380">
                  <c:v>43196</c:v>
                </c:pt>
                <c:pt idx="2381">
                  <c:v>43197</c:v>
                </c:pt>
                <c:pt idx="2382">
                  <c:v>43198</c:v>
                </c:pt>
                <c:pt idx="2383">
                  <c:v>43199</c:v>
                </c:pt>
                <c:pt idx="2384">
                  <c:v>43200</c:v>
                </c:pt>
                <c:pt idx="2385">
                  <c:v>43201</c:v>
                </c:pt>
                <c:pt idx="2386">
                  <c:v>43202</c:v>
                </c:pt>
                <c:pt idx="2387">
                  <c:v>43203</c:v>
                </c:pt>
                <c:pt idx="2388">
                  <c:v>43204</c:v>
                </c:pt>
                <c:pt idx="2389">
                  <c:v>43205</c:v>
                </c:pt>
                <c:pt idx="2390">
                  <c:v>43206</c:v>
                </c:pt>
                <c:pt idx="2391">
                  <c:v>43207</c:v>
                </c:pt>
                <c:pt idx="2392">
                  <c:v>43208</c:v>
                </c:pt>
                <c:pt idx="2393">
                  <c:v>43209</c:v>
                </c:pt>
                <c:pt idx="2394">
                  <c:v>43210</c:v>
                </c:pt>
                <c:pt idx="2395">
                  <c:v>43211</c:v>
                </c:pt>
                <c:pt idx="2396">
                  <c:v>43212</c:v>
                </c:pt>
                <c:pt idx="2397">
                  <c:v>43213</c:v>
                </c:pt>
                <c:pt idx="2398">
                  <c:v>43214</c:v>
                </c:pt>
                <c:pt idx="2399">
                  <c:v>43215</c:v>
                </c:pt>
                <c:pt idx="2400">
                  <c:v>43216</c:v>
                </c:pt>
                <c:pt idx="2401">
                  <c:v>43217</c:v>
                </c:pt>
                <c:pt idx="2402">
                  <c:v>43218</c:v>
                </c:pt>
                <c:pt idx="2403">
                  <c:v>43219</c:v>
                </c:pt>
                <c:pt idx="2404">
                  <c:v>43220</c:v>
                </c:pt>
                <c:pt idx="2405">
                  <c:v>43221</c:v>
                </c:pt>
                <c:pt idx="2406">
                  <c:v>43222</c:v>
                </c:pt>
                <c:pt idx="2407">
                  <c:v>43223</c:v>
                </c:pt>
                <c:pt idx="2408">
                  <c:v>43224</c:v>
                </c:pt>
                <c:pt idx="2409">
                  <c:v>43225</c:v>
                </c:pt>
                <c:pt idx="2410">
                  <c:v>43226</c:v>
                </c:pt>
                <c:pt idx="2411">
                  <c:v>43227</c:v>
                </c:pt>
                <c:pt idx="2412">
                  <c:v>43228</c:v>
                </c:pt>
                <c:pt idx="2413">
                  <c:v>43229</c:v>
                </c:pt>
                <c:pt idx="2414">
                  <c:v>43230</c:v>
                </c:pt>
                <c:pt idx="2415">
                  <c:v>43231</c:v>
                </c:pt>
                <c:pt idx="2416">
                  <c:v>43232</c:v>
                </c:pt>
                <c:pt idx="2417">
                  <c:v>43233</c:v>
                </c:pt>
                <c:pt idx="2418">
                  <c:v>43234</c:v>
                </c:pt>
                <c:pt idx="2419">
                  <c:v>43235</c:v>
                </c:pt>
                <c:pt idx="2420">
                  <c:v>43236</c:v>
                </c:pt>
                <c:pt idx="2421">
                  <c:v>43237</c:v>
                </c:pt>
                <c:pt idx="2422">
                  <c:v>43238</c:v>
                </c:pt>
                <c:pt idx="2423">
                  <c:v>43239</c:v>
                </c:pt>
                <c:pt idx="2424">
                  <c:v>43240</c:v>
                </c:pt>
                <c:pt idx="2425">
                  <c:v>43241</c:v>
                </c:pt>
                <c:pt idx="2426">
                  <c:v>43242</c:v>
                </c:pt>
                <c:pt idx="2427">
                  <c:v>43243</c:v>
                </c:pt>
                <c:pt idx="2428">
                  <c:v>43244</c:v>
                </c:pt>
                <c:pt idx="2429">
                  <c:v>43245</c:v>
                </c:pt>
                <c:pt idx="2430">
                  <c:v>43246</c:v>
                </c:pt>
                <c:pt idx="2431">
                  <c:v>43247</c:v>
                </c:pt>
                <c:pt idx="2432">
                  <c:v>43248</c:v>
                </c:pt>
                <c:pt idx="2433">
                  <c:v>43249</c:v>
                </c:pt>
                <c:pt idx="2434">
                  <c:v>43250</c:v>
                </c:pt>
                <c:pt idx="2435">
                  <c:v>43251</c:v>
                </c:pt>
                <c:pt idx="2436">
                  <c:v>43252</c:v>
                </c:pt>
                <c:pt idx="2437">
                  <c:v>43253</c:v>
                </c:pt>
                <c:pt idx="2438">
                  <c:v>43254</c:v>
                </c:pt>
                <c:pt idx="2439">
                  <c:v>43255</c:v>
                </c:pt>
                <c:pt idx="2440">
                  <c:v>43256</c:v>
                </c:pt>
                <c:pt idx="2441">
                  <c:v>43257</c:v>
                </c:pt>
                <c:pt idx="2442">
                  <c:v>43258</c:v>
                </c:pt>
                <c:pt idx="2443">
                  <c:v>43259</c:v>
                </c:pt>
                <c:pt idx="2444">
                  <c:v>43260</c:v>
                </c:pt>
                <c:pt idx="2445">
                  <c:v>43261</c:v>
                </c:pt>
                <c:pt idx="2446">
                  <c:v>43262</c:v>
                </c:pt>
                <c:pt idx="2447">
                  <c:v>43263</c:v>
                </c:pt>
                <c:pt idx="2448">
                  <c:v>43264</c:v>
                </c:pt>
                <c:pt idx="2449">
                  <c:v>43265</c:v>
                </c:pt>
                <c:pt idx="2450">
                  <c:v>43266</c:v>
                </c:pt>
                <c:pt idx="2451">
                  <c:v>43267</c:v>
                </c:pt>
                <c:pt idx="2452">
                  <c:v>43268</c:v>
                </c:pt>
                <c:pt idx="2453">
                  <c:v>43269</c:v>
                </c:pt>
                <c:pt idx="2454">
                  <c:v>43270</c:v>
                </c:pt>
                <c:pt idx="2455">
                  <c:v>43271</c:v>
                </c:pt>
                <c:pt idx="2456">
                  <c:v>43272</c:v>
                </c:pt>
                <c:pt idx="2457">
                  <c:v>43273</c:v>
                </c:pt>
                <c:pt idx="2458">
                  <c:v>43274</c:v>
                </c:pt>
                <c:pt idx="2459">
                  <c:v>43275</c:v>
                </c:pt>
                <c:pt idx="2460">
                  <c:v>43276</c:v>
                </c:pt>
                <c:pt idx="2461">
                  <c:v>43277</c:v>
                </c:pt>
                <c:pt idx="2462">
                  <c:v>43278</c:v>
                </c:pt>
                <c:pt idx="2463">
                  <c:v>43279</c:v>
                </c:pt>
                <c:pt idx="2464">
                  <c:v>43280</c:v>
                </c:pt>
                <c:pt idx="2465">
                  <c:v>43281</c:v>
                </c:pt>
                <c:pt idx="2466">
                  <c:v>43282</c:v>
                </c:pt>
                <c:pt idx="2467">
                  <c:v>43283</c:v>
                </c:pt>
                <c:pt idx="2468">
                  <c:v>43284</c:v>
                </c:pt>
                <c:pt idx="2469">
                  <c:v>43285</c:v>
                </c:pt>
                <c:pt idx="2470">
                  <c:v>43286</c:v>
                </c:pt>
                <c:pt idx="2471">
                  <c:v>43287</c:v>
                </c:pt>
                <c:pt idx="2472">
                  <c:v>43288</c:v>
                </c:pt>
                <c:pt idx="2473">
                  <c:v>43289</c:v>
                </c:pt>
                <c:pt idx="2474">
                  <c:v>43290</c:v>
                </c:pt>
                <c:pt idx="2475">
                  <c:v>43291</c:v>
                </c:pt>
                <c:pt idx="2476">
                  <c:v>43292</c:v>
                </c:pt>
                <c:pt idx="2477">
                  <c:v>43293</c:v>
                </c:pt>
                <c:pt idx="2478">
                  <c:v>43294</c:v>
                </c:pt>
                <c:pt idx="2479">
                  <c:v>43295</c:v>
                </c:pt>
                <c:pt idx="2480">
                  <c:v>43296</c:v>
                </c:pt>
                <c:pt idx="2481">
                  <c:v>43297</c:v>
                </c:pt>
                <c:pt idx="2482">
                  <c:v>43298</c:v>
                </c:pt>
                <c:pt idx="2483">
                  <c:v>43299</c:v>
                </c:pt>
                <c:pt idx="2484">
                  <c:v>43300</c:v>
                </c:pt>
                <c:pt idx="2485">
                  <c:v>43301</c:v>
                </c:pt>
                <c:pt idx="2486">
                  <c:v>43302</c:v>
                </c:pt>
                <c:pt idx="2487">
                  <c:v>43303</c:v>
                </c:pt>
                <c:pt idx="2488">
                  <c:v>43304</c:v>
                </c:pt>
                <c:pt idx="2489">
                  <c:v>43305</c:v>
                </c:pt>
                <c:pt idx="2490">
                  <c:v>43306</c:v>
                </c:pt>
                <c:pt idx="2491">
                  <c:v>43307</c:v>
                </c:pt>
                <c:pt idx="2492">
                  <c:v>43308</c:v>
                </c:pt>
                <c:pt idx="2493">
                  <c:v>43309</c:v>
                </c:pt>
                <c:pt idx="2494">
                  <c:v>43310</c:v>
                </c:pt>
                <c:pt idx="2495">
                  <c:v>43311</c:v>
                </c:pt>
                <c:pt idx="2496">
                  <c:v>43312</c:v>
                </c:pt>
                <c:pt idx="2497">
                  <c:v>43313</c:v>
                </c:pt>
                <c:pt idx="2498">
                  <c:v>43314</c:v>
                </c:pt>
                <c:pt idx="2499">
                  <c:v>43315</c:v>
                </c:pt>
                <c:pt idx="2500">
                  <c:v>43316</c:v>
                </c:pt>
                <c:pt idx="2501">
                  <c:v>43317</c:v>
                </c:pt>
                <c:pt idx="2502">
                  <c:v>43318</c:v>
                </c:pt>
                <c:pt idx="2503">
                  <c:v>43319</c:v>
                </c:pt>
                <c:pt idx="2504">
                  <c:v>43320</c:v>
                </c:pt>
                <c:pt idx="2505">
                  <c:v>43321</c:v>
                </c:pt>
                <c:pt idx="2506">
                  <c:v>43322</c:v>
                </c:pt>
                <c:pt idx="2507">
                  <c:v>43323</c:v>
                </c:pt>
                <c:pt idx="2508">
                  <c:v>43324</c:v>
                </c:pt>
                <c:pt idx="2509">
                  <c:v>43325</c:v>
                </c:pt>
                <c:pt idx="2510">
                  <c:v>43326</c:v>
                </c:pt>
                <c:pt idx="2511">
                  <c:v>43327</c:v>
                </c:pt>
                <c:pt idx="2512">
                  <c:v>43328</c:v>
                </c:pt>
                <c:pt idx="2513">
                  <c:v>43329</c:v>
                </c:pt>
                <c:pt idx="2514">
                  <c:v>43330</c:v>
                </c:pt>
                <c:pt idx="2515">
                  <c:v>43331</c:v>
                </c:pt>
                <c:pt idx="2516">
                  <c:v>43332</c:v>
                </c:pt>
                <c:pt idx="2517">
                  <c:v>43333</c:v>
                </c:pt>
                <c:pt idx="2518">
                  <c:v>43334</c:v>
                </c:pt>
                <c:pt idx="2519">
                  <c:v>43335</c:v>
                </c:pt>
                <c:pt idx="2520">
                  <c:v>43336</c:v>
                </c:pt>
                <c:pt idx="2521">
                  <c:v>43337</c:v>
                </c:pt>
                <c:pt idx="2522">
                  <c:v>43338</c:v>
                </c:pt>
                <c:pt idx="2523">
                  <c:v>43339</c:v>
                </c:pt>
                <c:pt idx="2524">
                  <c:v>43340</c:v>
                </c:pt>
                <c:pt idx="2525">
                  <c:v>43341</c:v>
                </c:pt>
                <c:pt idx="2526">
                  <c:v>43342</c:v>
                </c:pt>
                <c:pt idx="2527">
                  <c:v>43343</c:v>
                </c:pt>
                <c:pt idx="2528">
                  <c:v>43344</c:v>
                </c:pt>
                <c:pt idx="2529">
                  <c:v>43345</c:v>
                </c:pt>
                <c:pt idx="2530">
                  <c:v>43346</c:v>
                </c:pt>
                <c:pt idx="2531">
                  <c:v>43347</c:v>
                </c:pt>
                <c:pt idx="2532">
                  <c:v>43348</c:v>
                </c:pt>
                <c:pt idx="2533">
                  <c:v>43349</c:v>
                </c:pt>
                <c:pt idx="2534">
                  <c:v>43350</c:v>
                </c:pt>
                <c:pt idx="2535">
                  <c:v>43351</c:v>
                </c:pt>
                <c:pt idx="2536">
                  <c:v>43352</c:v>
                </c:pt>
                <c:pt idx="2537">
                  <c:v>43353</c:v>
                </c:pt>
                <c:pt idx="2538">
                  <c:v>43354</c:v>
                </c:pt>
                <c:pt idx="2539">
                  <c:v>43355</c:v>
                </c:pt>
                <c:pt idx="2540">
                  <c:v>43356</c:v>
                </c:pt>
                <c:pt idx="2541">
                  <c:v>43357</c:v>
                </c:pt>
                <c:pt idx="2542">
                  <c:v>43358</c:v>
                </c:pt>
                <c:pt idx="2543">
                  <c:v>43359</c:v>
                </c:pt>
                <c:pt idx="2544">
                  <c:v>43360</c:v>
                </c:pt>
                <c:pt idx="2545">
                  <c:v>43361</c:v>
                </c:pt>
                <c:pt idx="2546">
                  <c:v>43362</c:v>
                </c:pt>
                <c:pt idx="2547">
                  <c:v>43363</c:v>
                </c:pt>
                <c:pt idx="2548">
                  <c:v>43364</c:v>
                </c:pt>
                <c:pt idx="2549">
                  <c:v>43365</c:v>
                </c:pt>
                <c:pt idx="2550">
                  <c:v>43366</c:v>
                </c:pt>
                <c:pt idx="2551">
                  <c:v>43367</c:v>
                </c:pt>
                <c:pt idx="2552">
                  <c:v>43368</c:v>
                </c:pt>
                <c:pt idx="2553">
                  <c:v>43369</c:v>
                </c:pt>
                <c:pt idx="2554">
                  <c:v>43370</c:v>
                </c:pt>
                <c:pt idx="2555">
                  <c:v>43371</c:v>
                </c:pt>
                <c:pt idx="2556">
                  <c:v>43372</c:v>
                </c:pt>
                <c:pt idx="2557">
                  <c:v>43373</c:v>
                </c:pt>
                <c:pt idx="2558">
                  <c:v>43374</c:v>
                </c:pt>
                <c:pt idx="2559">
                  <c:v>43375</c:v>
                </c:pt>
                <c:pt idx="2560">
                  <c:v>43376</c:v>
                </c:pt>
                <c:pt idx="2561">
                  <c:v>43377</c:v>
                </c:pt>
                <c:pt idx="2562">
                  <c:v>43378</c:v>
                </c:pt>
                <c:pt idx="2563">
                  <c:v>43379</c:v>
                </c:pt>
                <c:pt idx="2564">
                  <c:v>43380</c:v>
                </c:pt>
                <c:pt idx="2565">
                  <c:v>43381</c:v>
                </c:pt>
                <c:pt idx="2566">
                  <c:v>43382</c:v>
                </c:pt>
                <c:pt idx="2567">
                  <c:v>43383</c:v>
                </c:pt>
                <c:pt idx="2568">
                  <c:v>43384</c:v>
                </c:pt>
                <c:pt idx="2569">
                  <c:v>43385</c:v>
                </c:pt>
                <c:pt idx="2570">
                  <c:v>43386</c:v>
                </c:pt>
                <c:pt idx="2571">
                  <c:v>43387</c:v>
                </c:pt>
                <c:pt idx="2572">
                  <c:v>43388</c:v>
                </c:pt>
                <c:pt idx="2573">
                  <c:v>43389</c:v>
                </c:pt>
                <c:pt idx="2574">
                  <c:v>43390</c:v>
                </c:pt>
                <c:pt idx="2575">
                  <c:v>43391</c:v>
                </c:pt>
                <c:pt idx="2576">
                  <c:v>43392</c:v>
                </c:pt>
                <c:pt idx="2577">
                  <c:v>43393</c:v>
                </c:pt>
                <c:pt idx="2578">
                  <c:v>43394</c:v>
                </c:pt>
                <c:pt idx="2579">
                  <c:v>43395</c:v>
                </c:pt>
                <c:pt idx="2580">
                  <c:v>43396</c:v>
                </c:pt>
                <c:pt idx="2581">
                  <c:v>43397</c:v>
                </c:pt>
                <c:pt idx="2582">
                  <c:v>43398</c:v>
                </c:pt>
                <c:pt idx="2583">
                  <c:v>43399</c:v>
                </c:pt>
                <c:pt idx="2584">
                  <c:v>43400</c:v>
                </c:pt>
                <c:pt idx="2585">
                  <c:v>43401</c:v>
                </c:pt>
                <c:pt idx="2586">
                  <c:v>43402</c:v>
                </c:pt>
                <c:pt idx="2587">
                  <c:v>43403</c:v>
                </c:pt>
                <c:pt idx="2588">
                  <c:v>43404</c:v>
                </c:pt>
                <c:pt idx="2589">
                  <c:v>43405</c:v>
                </c:pt>
                <c:pt idx="2590">
                  <c:v>43406</c:v>
                </c:pt>
                <c:pt idx="2591">
                  <c:v>43407</c:v>
                </c:pt>
                <c:pt idx="2592">
                  <c:v>43408</c:v>
                </c:pt>
                <c:pt idx="2593">
                  <c:v>43409</c:v>
                </c:pt>
                <c:pt idx="2594">
                  <c:v>43410</c:v>
                </c:pt>
                <c:pt idx="2595">
                  <c:v>43411</c:v>
                </c:pt>
                <c:pt idx="2596">
                  <c:v>43412</c:v>
                </c:pt>
                <c:pt idx="2597">
                  <c:v>43413</c:v>
                </c:pt>
                <c:pt idx="2598">
                  <c:v>43414</c:v>
                </c:pt>
                <c:pt idx="2599">
                  <c:v>43415</c:v>
                </c:pt>
                <c:pt idx="2600">
                  <c:v>43416</c:v>
                </c:pt>
                <c:pt idx="2601">
                  <c:v>43417</c:v>
                </c:pt>
                <c:pt idx="2602">
                  <c:v>43418</c:v>
                </c:pt>
                <c:pt idx="2603">
                  <c:v>43419</c:v>
                </c:pt>
                <c:pt idx="2604">
                  <c:v>43420</c:v>
                </c:pt>
                <c:pt idx="2605">
                  <c:v>43421</c:v>
                </c:pt>
                <c:pt idx="2606">
                  <c:v>43422</c:v>
                </c:pt>
                <c:pt idx="2607">
                  <c:v>43423</c:v>
                </c:pt>
                <c:pt idx="2608">
                  <c:v>43424</c:v>
                </c:pt>
                <c:pt idx="2609">
                  <c:v>43425</c:v>
                </c:pt>
                <c:pt idx="2610">
                  <c:v>43426</c:v>
                </c:pt>
                <c:pt idx="2611">
                  <c:v>43427</c:v>
                </c:pt>
                <c:pt idx="2612">
                  <c:v>43428</c:v>
                </c:pt>
                <c:pt idx="2613">
                  <c:v>43429</c:v>
                </c:pt>
                <c:pt idx="2614">
                  <c:v>43430</c:v>
                </c:pt>
                <c:pt idx="2615">
                  <c:v>43431</c:v>
                </c:pt>
                <c:pt idx="2616">
                  <c:v>43432</c:v>
                </c:pt>
                <c:pt idx="2617">
                  <c:v>43433</c:v>
                </c:pt>
                <c:pt idx="2618">
                  <c:v>43434</c:v>
                </c:pt>
                <c:pt idx="2619">
                  <c:v>43435</c:v>
                </c:pt>
                <c:pt idx="2620">
                  <c:v>43436</c:v>
                </c:pt>
                <c:pt idx="2621">
                  <c:v>43437</c:v>
                </c:pt>
                <c:pt idx="2622">
                  <c:v>43438</c:v>
                </c:pt>
                <c:pt idx="2623">
                  <c:v>43439</c:v>
                </c:pt>
                <c:pt idx="2624">
                  <c:v>43440</c:v>
                </c:pt>
                <c:pt idx="2625">
                  <c:v>43441</c:v>
                </c:pt>
                <c:pt idx="2626">
                  <c:v>43442</c:v>
                </c:pt>
                <c:pt idx="2627">
                  <c:v>43443</c:v>
                </c:pt>
                <c:pt idx="2628">
                  <c:v>43444</c:v>
                </c:pt>
                <c:pt idx="2629">
                  <c:v>43445</c:v>
                </c:pt>
                <c:pt idx="2630">
                  <c:v>43446</c:v>
                </c:pt>
                <c:pt idx="2631">
                  <c:v>43447</c:v>
                </c:pt>
                <c:pt idx="2632">
                  <c:v>43448</c:v>
                </c:pt>
                <c:pt idx="2633">
                  <c:v>43449</c:v>
                </c:pt>
                <c:pt idx="2634">
                  <c:v>43450</c:v>
                </c:pt>
                <c:pt idx="2635">
                  <c:v>43451</c:v>
                </c:pt>
                <c:pt idx="2636">
                  <c:v>43452</c:v>
                </c:pt>
                <c:pt idx="2637">
                  <c:v>43453</c:v>
                </c:pt>
                <c:pt idx="2638">
                  <c:v>43454</c:v>
                </c:pt>
                <c:pt idx="2639">
                  <c:v>43455</c:v>
                </c:pt>
                <c:pt idx="2640">
                  <c:v>43456</c:v>
                </c:pt>
                <c:pt idx="2641">
                  <c:v>43457</c:v>
                </c:pt>
                <c:pt idx="2642">
                  <c:v>43458</c:v>
                </c:pt>
                <c:pt idx="2643">
                  <c:v>43459</c:v>
                </c:pt>
                <c:pt idx="2644">
                  <c:v>43460</c:v>
                </c:pt>
                <c:pt idx="2645">
                  <c:v>43461</c:v>
                </c:pt>
                <c:pt idx="2646">
                  <c:v>43462</c:v>
                </c:pt>
                <c:pt idx="2647">
                  <c:v>43463</c:v>
                </c:pt>
                <c:pt idx="2648">
                  <c:v>43464</c:v>
                </c:pt>
                <c:pt idx="2649">
                  <c:v>43465</c:v>
                </c:pt>
                <c:pt idx="2650">
                  <c:v>43466</c:v>
                </c:pt>
                <c:pt idx="2651">
                  <c:v>43467</c:v>
                </c:pt>
                <c:pt idx="2652">
                  <c:v>43468</c:v>
                </c:pt>
                <c:pt idx="2653">
                  <c:v>43469</c:v>
                </c:pt>
                <c:pt idx="2654">
                  <c:v>43470</c:v>
                </c:pt>
                <c:pt idx="2655">
                  <c:v>43471</c:v>
                </c:pt>
                <c:pt idx="2656">
                  <c:v>43472</c:v>
                </c:pt>
                <c:pt idx="2657">
                  <c:v>43473</c:v>
                </c:pt>
                <c:pt idx="2658">
                  <c:v>43474</c:v>
                </c:pt>
                <c:pt idx="2659">
                  <c:v>43475</c:v>
                </c:pt>
                <c:pt idx="2660">
                  <c:v>43476</c:v>
                </c:pt>
                <c:pt idx="2661">
                  <c:v>43477</c:v>
                </c:pt>
                <c:pt idx="2662">
                  <c:v>43478</c:v>
                </c:pt>
                <c:pt idx="2663">
                  <c:v>43479</c:v>
                </c:pt>
                <c:pt idx="2664">
                  <c:v>43480</c:v>
                </c:pt>
                <c:pt idx="2665">
                  <c:v>43481</c:v>
                </c:pt>
                <c:pt idx="2666">
                  <c:v>43482</c:v>
                </c:pt>
                <c:pt idx="2667">
                  <c:v>43483</c:v>
                </c:pt>
                <c:pt idx="2668">
                  <c:v>43484</c:v>
                </c:pt>
                <c:pt idx="2669">
                  <c:v>43485</c:v>
                </c:pt>
                <c:pt idx="2670">
                  <c:v>43486</c:v>
                </c:pt>
                <c:pt idx="2671">
                  <c:v>43487</c:v>
                </c:pt>
                <c:pt idx="2672">
                  <c:v>43488</c:v>
                </c:pt>
                <c:pt idx="2673">
                  <c:v>43489</c:v>
                </c:pt>
                <c:pt idx="2674">
                  <c:v>43490</c:v>
                </c:pt>
                <c:pt idx="2675">
                  <c:v>43491</c:v>
                </c:pt>
                <c:pt idx="2676">
                  <c:v>43492</c:v>
                </c:pt>
                <c:pt idx="2677">
                  <c:v>43493</c:v>
                </c:pt>
                <c:pt idx="2678">
                  <c:v>43494</c:v>
                </c:pt>
                <c:pt idx="2679">
                  <c:v>43495</c:v>
                </c:pt>
                <c:pt idx="2680">
                  <c:v>43496</c:v>
                </c:pt>
                <c:pt idx="2681">
                  <c:v>43497</c:v>
                </c:pt>
                <c:pt idx="2682">
                  <c:v>43498</c:v>
                </c:pt>
                <c:pt idx="2683">
                  <c:v>43499</c:v>
                </c:pt>
                <c:pt idx="2684">
                  <c:v>43500</c:v>
                </c:pt>
                <c:pt idx="2685">
                  <c:v>43501</c:v>
                </c:pt>
                <c:pt idx="2686">
                  <c:v>43502</c:v>
                </c:pt>
                <c:pt idx="2687">
                  <c:v>43503</c:v>
                </c:pt>
                <c:pt idx="2688">
                  <c:v>43504</c:v>
                </c:pt>
                <c:pt idx="2689">
                  <c:v>43505</c:v>
                </c:pt>
                <c:pt idx="2690">
                  <c:v>43506</c:v>
                </c:pt>
                <c:pt idx="2691">
                  <c:v>43507</c:v>
                </c:pt>
                <c:pt idx="2692">
                  <c:v>43508</c:v>
                </c:pt>
                <c:pt idx="2693">
                  <c:v>43509</c:v>
                </c:pt>
                <c:pt idx="2694">
                  <c:v>43510</c:v>
                </c:pt>
                <c:pt idx="2695">
                  <c:v>43511</c:v>
                </c:pt>
                <c:pt idx="2696">
                  <c:v>43512</c:v>
                </c:pt>
                <c:pt idx="2697">
                  <c:v>43513</c:v>
                </c:pt>
                <c:pt idx="2698">
                  <c:v>43514</c:v>
                </c:pt>
                <c:pt idx="2699">
                  <c:v>43515</c:v>
                </c:pt>
                <c:pt idx="2700">
                  <c:v>43516</c:v>
                </c:pt>
                <c:pt idx="2701">
                  <c:v>43517</c:v>
                </c:pt>
                <c:pt idx="2702">
                  <c:v>43518</c:v>
                </c:pt>
                <c:pt idx="2703">
                  <c:v>43519</c:v>
                </c:pt>
                <c:pt idx="2704">
                  <c:v>43520</c:v>
                </c:pt>
                <c:pt idx="2705">
                  <c:v>43521</c:v>
                </c:pt>
                <c:pt idx="2706">
                  <c:v>43522</c:v>
                </c:pt>
                <c:pt idx="2707">
                  <c:v>43523</c:v>
                </c:pt>
                <c:pt idx="2708">
                  <c:v>43524</c:v>
                </c:pt>
                <c:pt idx="2709">
                  <c:v>43525</c:v>
                </c:pt>
                <c:pt idx="2710">
                  <c:v>43526</c:v>
                </c:pt>
                <c:pt idx="2711">
                  <c:v>43527</c:v>
                </c:pt>
                <c:pt idx="2712">
                  <c:v>43528</c:v>
                </c:pt>
                <c:pt idx="2713">
                  <c:v>43529</c:v>
                </c:pt>
                <c:pt idx="2714">
                  <c:v>43530</c:v>
                </c:pt>
                <c:pt idx="2715">
                  <c:v>43531</c:v>
                </c:pt>
                <c:pt idx="2716">
                  <c:v>43532</c:v>
                </c:pt>
                <c:pt idx="2717">
                  <c:v>43533</c:v>
                </c:pt>
                <c:pt idx="2718">
                  <c:v>43534</c:v>
                </c:pt>
                <c:pt idx="2719">
                  <c:v>43535</c:v>
                </c:pt>
                <c:pt idx="2720">
                  <c:v>43536</c:v>
                </c:pt>
                <c:pt idx="2721">
                  <c:v>43537</c:v>
                </c:pt>
                <c:pt idx="2722">
                  <c:v>43538</c:v>
                </c:pt>
                <c:pt idx="2723">
                  <c:v>43539</c:v>
                </c:pt>
                <c:pt idx="2724">
                  <c:v>43540</c:v>
                </c:pt>
                <c:pt idx="2725">
                  <c:v>43541</c:v>
                </c:pt>
                <c:pt idx="2726">
                  <c:v>43542</c:v>
                </c:pt>
                <c:pt idx="2727">
                  <c:v>43543</c:v>
                </c:pt>
                <c:pt idx="2728">
                  <c:v>43544</c:v>
                </c:pt>
                <c:pt idx="2729">
                  <c:v>43545</c:v>
                </c:pt>
                <c:pt idx="2730">
                  <c:v>43546</c:v>
                </c:pt>
                <c:pt idx="2731">
                  <c:v>43547</c:v>
                </c:pt>
                <c:pt idx="2732">
                  <c:v>43548</c:v>
                </c:pt>
                <c:pt idx="2733">
                  <c:v>43549</c:v>
                </c:pt>
                <c:pt idx="2734">
                  <c:v>43550</c:v>
                </c:pt>
                <c:pt idx="2735">
                  <c:v>43551</c:v>
                </c:pt>
                <c:pt idx="2736">
                  <c:v>43552</c:v>
                </c:pt>
                <c:pt idx="2737">
                  <c:v>43553</c:v>
                </c:pt>
                <c:pt idx="2738">
                  <c:v>43554</c:v>
                </c:pt>
                <c:pt idx="2739">
                  <c:v>43555</c:v>
                </c:pt>
                <c:pt idx="2740">
                  <c:v>43556</c:v>
                </c:pt>
                <c:pt idx="2741">
                  <c:v>43557</c:v>
                </c:pt>
                <c:pt idx="2742">
                  <c:v>43558</c:v>
                </c:pt>
                <c:pt idx="2743">
                  <c:v>43559</c:v>
                </c:pt>
                <c:pt idx="2744">
                  <c:v>43560</c:v>
                </c:pt>
                <c:pt idx="2745">
                  <c:v>43561</c:v>
                </c:pt>
                <c:pt idx="2746">
                  <c:v>43562</c:v>
                </c:pt>
                <c:pt idx="2747">
                  <c:v>43563</c:v>
                </c:pt>
                <c:pt idx="2748">
                  <c:v>43564</c:v>
                </c:pt>
                <c:pt idx="2749">
                  <c:v>43565</c:v>
                </c:pt>
                <c:pt idx="2750">
                  <c:v>43566</c:v>
                </c:pt>
                <c:pt idx="2751">
                  <c:v>43567</c:v>
                </c:pt>
                <c:pt idx="2752">
                  <c:v>43568</c:v>
                </c:pt>
                <c:pt idx="2753">
                  <c:v>43569</c:v>
                </c:pt>
                <c:pt idx="2754">
                  <c:v>43570</c:v>
                </c:pt>
                <c:pt idx="2755">
                  <c:v>43571</c:v>
                </c:pt>
                <c:pt idx="2756">
                  <c:v>43572</c:v>
                </c:pt>
                <c:pt idx="2757">
                  <c:v>43573</c:v>
                </c:pt>
                <c:pt idx="2758">
                  <c:v>43574</c:v>
                </c:pt>
                <c:pt idx="2759">
                  <c:v>43575</c:v>
                </c:pt>
                <c:pt idx="2760">
                  <c:v>43576</c:v>
                </c:pt>
                <c:pt idx="2761">
                  <c:v>43577</c:v>
                </c:pt>
                <c:pt idx="2762">
                  <c:v>43578</c:v>
                </c:pt>
                <c:pt idx="2763">
                  <c:v>43579</c:v>
                </c:pt>
                <c:pt idx="2764">
                  <c:v>43580</c:v>
                </c:pt>
                <c:pt idx="2765">
                  <c:v>43581</c:v>
                </c:pt>
                <c:pt idx="2766">
                  <c:v>43582</c:v>
                </c:pt>
                <c:pt idx="2767">
                  <c:v>43583</c:v>
                </c:pt>
                <c:pt idx="2768">
                  <c:v>43584</c:v>
                </c:pt>
                <c:pt idx="2769">
                  <c:v>43585</c:v>
                </c:pt>
                <c:pt idx="2770">
                  <c:v>43586</c:v>
                </c:pt>
                <c:pt idx="2771">
                  <c:v>43587</c:v>
                </c:pt>
                <c:pt idx="2772">
                  <c:v>43588</c:v>
                </c:pt>
                <c:pt idx="2773">
                  <c:v>43589</c:v>
                </c:pt>
                <c:pt idx="2774">
                  <c:v>43590</c:v>
                </c:pt>
                <c:pt idx="2775">
                  <c:v>43591</c:v>
                </c:pt>
                <c:pt idx="2776">
                  <c:v>43592</c:v>
                </c:pt>
                <c:pt idx="2777">
                  <c:v>43593</c:v>
                </c:pt>
                <c:pt idx="2778">
                  <c:v>43594</c:v>
                </c:pt>
                <c:pt idx="2779">
                  <c:v>43595</c:v>
                </c:pt>
                <c:pt idx="2780">
                  <c:v>43596</c:v>
                </c:pt>
                <c:pt idx="2781">
                  <c:v>43597</c:v>
                </c:pt>
                <c:pt idx="2782">
                  <c:v>43598</c:v>
                </c:pt>
                <c:pt idx="2783">
                  <c:v>43599</c:v>
                </c:pt>
                <c:pt idx="2784">
                  <c:v>43600</c:v>
                </c:pt>
                <c:pt idx="2785">
                  <c:v>43601</c:v>
                </c:pt>
                <c:pt idx="2786">
                  <c:v>43602</c:v>
                </c:pt>
                <c:pt idx="2787">
                  <c:v>43603</c:v>
                </c:pt>
                <c:pt idx="2788">
                  <c:v>43604</c:v>
                </c:pt>
                <c:pt idx="2789">
                  <c:v>43605</c:v>
                </c:pt>
                <c:pt idx="2790">
                  <c:v>43606</c:v>
                </c:pt>
                <c:pt idx="2791">
                  <c:v>43607</c:v>
                </c:pt>
                <c:pt idx="2792">
                  <c:v>43608</c:v>
                </c:pt>
                <c:pt idx="2793">
                  <c:v>43609</c:v>
                </c:pt>
                <c:pt idx="2794">
                  <c:v>43610</c:v>
                </c:pt>
                <c:pt idx="2795">
                  <c:v>43611</c:v>
                </c:pt>
                <c:pt idx="2796">
                  <c:v>43612</c:v>
                </c:pt>
                <c:pt idx="2797">
                  <c:v>43613</c:v>
                </c:pt>
                <c:pt idx="2798">
                  <c:v>43614</c:v>
                </c:pt>
                <c:pt idx="2799">
                  <c:v>43615</c:v>
                </c:pt>
                <c:pt idx="2800">
                  <c:v>43616</c:v>
                </c:pt>
                <c:pt idx="2801">
                  <c:v>43617</c:v>
                </c:pt>
                <c:pt idx="2802">
                  <c:v>43618</c:v>
                </c:pt>
                <c:pt idx="2803">
                  <c:v>43619</c:v>
                </c:pt>
                <c:pt idx="2804">
                  <c:v>43620</c:v>
                </c:pt>
                <c:pt idx="2805">
                  <c:v>43621</c:v>
                </c:pt>
                <c:pt idx="2806">
                  <c:v>43622</c:v>
                </c:pt>
                <c:pt idx="2807">
                  <c:v>43623</c:v>
                </c:pt>
                <c:pt idx="2808">
                  <c:v>43624</c:v>
                </c:pt>
                <c:pt idx="2809">
                  <c:v>43625</c:v>
                </c:pt>
                <c:pt idx="2810">
                  <c:v>43626</c:v>
                </c:pt>
                <c:pt idx="2811">
                  <c:v>43627</c:v>
                </c:pt>
                <c:pt idx="2812">
                  <c:v>43628</c:v>
                </c:pt>
                <c:pt idx="2813">
                  <c:v>43629</c:v>
                </c:pt>
                <c:pt idx="2814">
                  <c:v>43630</c:v>
                </c:pt>
                <c:pt idx="2815">
                  <c:v>43631</c:v>
                </c:pt>
                <c:pt idx="2816">
                  <c:v>43632</c:v>
                </c:pt>
                <c:pt idx="2817">
                  <c:v>43633</c:v>
                </c:pt>
                <c:pt idx="2818">
                  <c:v>43634</c:v>
                </c:pt>
                <c:pt idx="2819">
                  <c:v>43635</c:v>
                </c:pt>
                <c:pt idx="2820">
                  <c:v>43636</c:v>
                </c:pt>
                <c:pt idx="2821">
                  <c:v>43637</c:v>
                </c:pt>
                <c:pt idx="2822">
                  <c:v>43638</c:v>
                </c:pt>
                <c:pt idx="2823">
                  <c:v>43639</c:v>
                </c:pt>
                <c:pt idx="2824">
                  <c:v>43640</c:v>
                </c:pt>
                <c:pt idx="2825">
                  <c:v>43641</c:v>
                </c:pt>
                <c:pt idx="2826">
                  <c:v>43642</c:v>
                </c:pt>
                <c:pt idx="2827">
                  <c:v>43643</c:v>
                </c:pt>
                <c:pt idx="2828">
                  <c:v>43644</c:v>
                </c:pt>
                <c:pt idx="2829">
                  <c:v>43645</c:v>
                </c:pt>
                <c:pt idx="2830">
                  <c:v>43646</c:v>
                </c:pt>
                <c:pt idx="2831">
                  <c:v>43647</c:v>
                </c:pt>
                <c:pt idx="2832">
                  <c:v>43648</c:v>
                </c:pt>
                <c:pt idx="2833">
                  <c:v>43649</c:v>
                </c:pt>
                <c:pt idx="2834">
                  <c:v>43650</c:v>
                </c:pt>
                <c:pt idx="2835">
                  <c:v>43651</c:v>
                </c:pt>
                <c:pt idx="2836">
                  <c:v>43652</c:v>
                </c:pt>
                <c:pt idx="2837">
                  <c:v>43653</c:v>
                </c:pt>
                <c:pt idx="2838">
                  <c:v>43654</c:v>
                </c:pt>
                <c:pt idx="2839">
                  <c:v>43655</c:v>
                </c:pt>
                <c:pt idx="2840">
                  <c:v>43656</c:v>
                </c:pt>
                <c:pt idx="2841">
                  <c:v>43657</c:v>
                </c:pt>
                <c:pt idx="2842">
                  <c:v>43658</c:v>
                </c:pt>
                <c:pt idx="2843">
                  <c:v>43659</c:v>
                </c:pt>
                <c:pt idx="2844">
                  <c:v>43660</c:v>
                </c:pt>
                <c:pt idx="2845">
                  <c:v>43661</c:v>
                </c:pt>
                <c:pt idx="2846">
                  <c:v>43662</c:v>
                </c:pt>
                <c:pt idx="2847">
                  <c:v>43663</c:v>
                </c:pt>
                <c:pt idx="2848">
                  <c:v>43664</c:v>
                </c:pt>
                <c:pt idx="2849">
                  <c:v>43665</c:v>
                </c:pt>
                <c:pt idx="2850">
                  <c:v>43666</c:v>
                </c:pt>
                <c:pt idx="2851">
                  <c:v>43667</c:v>
                </c:pt>
                <c:pt idx="2852">
                  <c:v>43668</c:v>
                </c:pt>
                <c:pt idx="2853">
                  <c:v>43669</c:v>
                </c:pt>
                <c:pt idx="2854">
                  <c:v>43670</c:v>
                </c:pt>
                <c:pt idx="2855">
                  <c:v>43671</c:v>
                </c:pt>
                <c:pt idx="2856">
                  <c:v>43672</c:v>
                </c:pt>
                <c:pt idx="2857">
                  <c:v>43673</c:v>
                </c:pt>
                <c:pt idx="2858">
                  <c:v>43674</c:v>
                </c:pt>
                <c:pt idx="2859">
                  <c:v>43675</c:v>
                </c:pt>
                <c:pt idx="2860">
                  <c:v>43676</c:v>
                </c:pt>
                <c:pt idx="2861">
                  <c:v>43677</c:v>
                </c:pt>
                <c:pt idx="2862">
                  <c:v>43678</c:v>
                </c:pt>
                <c:pt idx="2863">
                  <c:v>43679</c:v>
                </c:pt>
                <c:pt idx="2864">
                  <c:v>43680</c:v>
                </c:pt>
                <c:pt idx="2865">
                  <c:v>43681</c:v>
                </c:pt>
                <c:pt idx="2866">
                  <c:v>43682</c:v>
                </c:pt>
                <c:pt idx="2867">
                  <c:v>43683</c:v>
                </c:pt>
                <c:pt idx="2868">
                  <c:v>43684</c:v>
                </c:pt>
                <c:pt idx="2869">
                  <c:v>43685</c:v>
                </c:pt>
                <c:pt idx="2870">
                  <c:v>43686</c:v>
                </c:pt>
                <c:pt idx="2871">
                  <c:v>43687</c:v>
                </c:pt>
                <c:pt idx="2872">
                  <c:v>43688</c:v>
                </c:pt>
                <c:pt idx="2873">
                  <c:v>43689</c:v>
                </c:pt>
                <c:pt idx="2874">
                  <c:v>43690</c:v>
                </c:pt>
                <c:pt idx="2875">
                  <c:v>43691</c:v>
                </c:pt>
                <c:pt idx="2876">
                  <c:v>43692</c:v>
                </c:pt>
                <c:pt idx="2877">
                  <c:v>43693</c:v>
                </c:pt>
                <c:pt idx="2878">
                  <c:v>43694</c:v>
                </c:pt>
                <c:pt idx="2879">
                  <c:v>43695</c:v>
                </c:pt>
                <c:pt idx="2880">
                  <c:v>43696</c:v>
                </c:pt>
                <c:pt idx="2881">
                  <c:v>43697</c:v>
                </c:pt>
                <c:pt idx="2882">
                  <c:v>43698</c:v>
                </c:pt>
                <c:pt idx="2883">
                  <c:v>43699</c:v>
                </c:pt>
                <c:pt idx="2884">
                  <c:v>43700</c:v>
                </c:pt>
                <c:pt idx="2885">
                  <c:v>43701</c:v>
                </c:pt>
                <c:pt idx="2886">
                  <c:v>43702</c:v>
                </c:pt>
                <c:pt idx="2887">
                  <c:v>43703</c:v>
                </c:pt>
                <c:pt idx="2888">
                  <c:v>43704</c:v>
                </c:pt>
                <c:pt idx="2889">
                  <c:v>43705</c:v>
                </c:pt>
                <c:pt idx="2890">
                  <c:v>43706</c:v>
                </c:pt>
                <c:pt idx="2891">
                  <c:v>43707</c:v>
                </c:pt>
                <c:pt idx="2892">
                  <c:v>43708</c:v>
                </c:pt>
                <c:pt idx="2893">
                  <c:v>43709</c:v>
                </c:pt>
                <c:pt idx="2894">
                  <c:v>43710</c:v>
                </c:pt>
                <c:pt idx="2895">
                  <c:v>43711</c:v>
                </c:pt>
                <c:pt idx="2896">
                  <c:v>43712</c:v>
                </c:pt>
                <c:pt idx="2897">
                  <c:v>43713</c:v>
                </c:pt>
                <c:pt idx="2898">
                  <c:v>43714</c:v>
                </c:pt>
                <c:pt idx="2899">
                  <c:v>43715</c:v>
                </c:pt>
                <c:pt idx="2900">
                  <c:v>43716</c:v>
                </c:pt>
                <c:pt idx="2901">
                  <c:v>43717</c:v>
                </c:pt>
                <c:pt idx="2902">
                  <c:v>43718</c:v>
                </c:pt>
                <c:pt idx="2903">
                  <c:v>43719</c:v>
                </c:pt>
                <c:pt idx="2904">
                  <c:v>43720</c:v>
                </c:pt>
                <c:pt idx="2905">
                  <c:v>43721</c:v>
                </c:pt>
                <c:pt idx="2906">
                  <c:v>43722</c:v>
                </c:pt>
                <c:pt idx="2907">
                  <c:v>43723</c:v>
                </c:pt>
                <c:pt idx="2908">
                  <c:v>43724</c:v>
                </c:pt>
                <c:pt idx="2909">
                  <c:v>43725</c:v>
                </c:pt>
                <c:pt idx="2910">
                  <c:v>43726</c:v>
                </c:pt>
                <c:pt idx="2911">
                  <c:v>43727</c:v>
                </c:pt>
                <c:pt idx="2912">
                  <c:v>43728</c:v>
                </c:pt>
                <c:pt idx="2913">
                  <c:v>43729</c:v>
                </c:pt>
                <c:pt idx="2914">
                  <c:v>43730</c:v>
                </c:pt>
                <c:pt idx="2915">
                  <c:v>43731</c:v>
                </c:pt>
                <c:pt idx="2916">
                  <c:v>43732</c:v>
                </c:pt>
                <c:pt idx="2917">
                  <c:v>43733</c:v>
                </c:pt>
                <c:pt idx="2918">
                  <c:v>43734</c:v>
                </c:pt>
                <c:pt idx="2919">
                  <c:v>43735</c:v>
                </c:pt>
                <c:pt idx="2920">
                  <c:v>43736</c:v>
                </c:pt>
                <c:pt idx="2921">
                  <c:v>43737</c:v>
                </c:pt>
                <c:pt idx="2922">
                  <c:v>43738</c:v>
                </c:pt>
                <c:pt idx="2923">
                  <c:v>43739</c:v>
                </c:pt>
                <c:pt idx="2924">
                  <c:v>43740</c:v>
                </c:pt>
                <c:pt idx="2925">
                  <c:v>43741</c:v>
                </c:pt>
                <c:pt idx="2926">
                  <c:v>43742</c:v>
                </c:pt>
                <c:pt idx="2927">
                  <c:v>43743</c:v>
                </c:pt>
                <c:pt idx="2928">
                  <c:v>43744</c:v>
                </c:pt>
                <c:pt idx="2929">
                  <c:v>43745</c:v>
                </c:pt>
                <c:pt idx="2930">
                  <c:v>43746</c:v>
                </c:pt>
                <c:pt idx="2931">
                  <c:v>43747</c:v>
                </c:pt>
                <c:pt idx="2932">
                  <c:v>43748</c:v>
                </c:pt>
                <c:pt idx="2933">
                  <c:v>43749</c:v>
                </c:pt>
                <c:pt idx="2934">
                  <c:v>43750</c:v>
                </c:pt>
                <c:pt idx="2935">
                  <c:v>43751</c:v>
                </c:pt>
                <c:pt idx="2936">
                  <c:v>43752</c:v>
                </c:pt>
                <c:pt idx="2937">
                  <c:v>43753</c:v>
                </c:pt>
                <c:pt idx="2938">
                  <c:v>43754</c:v>
                </c:pt>
                <c:pt idx="2939">
                  <c:v>43755</c:v>
                </c:pt>
                <c:pt idx="2940">
                  <c:v>43756</c:v>
                </c:pt>
                <c:pt idx="2941">
                  <c:v>43757</c:v>
                </c:pt>
                <c:pt idx="2942">
                  <c:v>43758</c:v>
                </c:pt>
                <c:pt idx="2943">
                  <c:v>43759</c:v>
                </c:pt>
                <c:pt idx="2944">
                  <c:v>43760</c:v>
                </c:pt>
                <c:pt idx="2945">
                  <c:v>43761</c:v>
                </c:pt>
                <c:pt idx="2946">
                  <c:v>43762</c:v>
                </c:pt>
                <c:pt idx="2947">
                  <c:v>43763</c:v>
                </c:pt>
                <c:pt idx="2948">
                  <c:v>43764</c:v>
                </c:pt>
                <c:pt idx="2949">
                  <c:v>43765</c:v>
                </c:pt>
                <c:pt idx="2950">
                  <c:v>43766</c:v>
                </c:pt>
                <c:pt idx="2951">
                  <c:v>43767</c:v>
                </c:pt>
                <c:pt idx="2952">
                  <c:v>43768</c:v>
                </c:pt>
                <c:pt idx="2953">
                  <c:v>43769</c:v>
                </c:pt>
                <c:pt idx="2954">
                  <c:v>43770</c:v>
                </c:pt>
                <c:pt idx="2955">
                  <c:v>43771</c:v>
                </c:pt>
                <c:pt idx="2956">
                  <c:v>43772</c:v>
                </c:pt>
                <c:pt idx="2957">
                  <c:v>43773</c:v>
                </c:pt>
                <c:pt idx="2958">
                  <c:v>43774</c:v>
                </c:pt>
                <c:pt idx="2959">
                  <c:v>43775</c:v>
                </c:pt>
                <c:pt idx="2960">
                  <c:v>43776</c:v>
                </c:pt>
                <c:pt idx="2961">
                  <c:v>43777</c:v>
                </c:pt>
                <c:pt idx="2962">
                  <c:v>43778</c:v>
                </c:pt>
                <c:pt idx="2963">
                  <c:v>43779</c:v>
                </c:pt>
                <c:pt idx="2964">
                  <c:v>43780</c:v>
                </c:pt>
                <c:pt idx="2965">
                  <c:v>43781</c:v>
                </c:pt>
                <c:pt idx="2966">
                  <c:v>43782</c:v>
                </c:pt>
                <c:pt idx="2967">
                  <c:v>43783</c:v>
                </c:pt>
                <c:pt idx="2968">
                  <c:v>43784</c:v>
                </c:pt>
                <c:pt idx="2969">
                  <c:v>43785</c:v>
                </c:pt>
                <c:pt idx="2970">
                  <c:v>43786</c:v>
                </c:pt>
                <c:pt idx="2971">
                  <c:v>43787</c:v>
                </c:pt>
                <c:pt idx="2972">
                  <c:v>43788</c:v>
                </c:pt>
                <c:pt idx="2973">
                  <c:v>43789</c:v>
                </c:pt>
                <c:pt idx="2974">
                  <c:v>43790</c:v>
                </c:pt>
                <c:pt idx="2975">
                  <c:v>43791</c:v>
                </c:pt>
                <c:pt idx="2976">
                  <c:v>43792</c:v>
                </c:pt>
                <c:pt idx="2977">
                  <c:v>43793</c:v>
                </c:pt>
                <c:pt idx="2978">
                  <c:v>43794</c:v>
                </c:pt>
                <c:pt idx="2979">
                  <c:v>43795</c:v>
                </c:pt>
                <c:pt idx="2980">
                  <c:v>43796</c:v>
                </c:pt>
                <c:pt idx="2981">
                  <c:v>43797</c:v>
                </c:pt>
                <c:pt idx="2982">
                  <c:v>43798</c:v>
                </c:pt>
                <c:pt idx="2983">
                  <c:v>43799</c:v>
                </c:pt>
                <c:pt idx="2984">
                  <c:v>43800</c:v>
                </c:pt>
                <c:pt idx="2985">
                  <c:v>43801</c:v>
                </c:pt>
                <c:pt idx="2986">
                  <c:v>43802</c:v>
                </c:pt>
                <c:pt idx="2987">
                  <c:v>43803</c:v>
                </c:pt>
                <c:pt idx="2988">
                  <c:v>43804</c:v>
                </c:pt>
                <c:pt idx="2989">
                  <c:v>43805</c:v>
                </c:pt>
                <c:pt idx="2990">
                  <c:v>43806</c:v>
                </c:pt>
                <c:pt idx="2991">
                  <c:v>43807</c:v>
                </c:pt>
                <c:pt idx="2992">
                  <c:v>43808</c:v>
                </c:pt>
                <c:pt idx="2993">
                  <c:v>43809</c:v>
                </c:pt>
                <c:pt idx="2994">
                  <c:v>43810</c:v>
                </c:pt>
                <c:pt idx="2995">
                  <c:v>43811</c:v>
                </c:pt>
                <c:pt idx="2996">
                  <c:v>43812</c:v>
                </c:pt>
                <c:pt idx="2997">
                  <c:v>43813</c:v>
                </c:pt>
                <c:pt idx="2998">
                  <c:v>43814</c:v>
                </c:pt>
                <c:pt idx="2999">
                  <c:v>43815</c:v>
                </c:pt>
                <c:pt idx="3000">
                  <c:v>43816</c:v>
                </c:pt>
                <c:pt idx="3001">
                  <c:v>43817</c:v>
                </c:pt>
                <c:pt idx="3002">
                  <c:v>43818</c:v>
                </c:pt>
                <c:pt idx="3003">
                  <c:v>43819</c:v>
                </c:pt>
                <c:pt idx="3004">
                  <c:v>43820</c:v>
                </c:pt>
                <c:pt idx="3005">
                  <c:v>43821</c:v>
                </c:pt>
                <c:pt idx="3006">
                  <c:v>43822</c:v>
                </c:pt>
                <c:pt idx="3007">
                  <c:v>43823</c:v>
                </c:pt>
                <c:pt idx="3008">
                  <c:v>43824</c:v>
                </c:pt>
                <c:pt idx="3009">
                  <c:v>43825</c:v>
                </c:pt>
                <c:pt idx="3010">
                  <c:v>43826</c:v>
                </c:pt>
                <c:pt idx="3011">
                  <c:v>43827</c:v>
                </c:pt>
                <c:pt idx="3012">
                  <c:v>43828</c:v>
                </c:pt>
                <c:pt idx="3013">
                  <c:v>43829</c:v>
                </c:pt>
                <c:pt idx="3014">
                  <c:v>43830</c:v>
                </c:pt>
                <c:pt idx="3015">
                  <c:v>43831</c:v>
                </c:pt>
                <c:pt idx="3016">
                  <c:v>43832</c:v>
                </c:pt>
                <c:pt idx="3017">
                  <c:v>43833</c:v>
                </c:pt>
                <c:pt idx="3018">
                  <c:v>43834</c:v>
                </c:pt>
                <c:pt idx="3019">
                  <c:v>43835</c:v>
                </c:pt>
                <c:pt idx="3020">
                  <c:v>43836</c:v>
                </c:pt>
                <c:pt idx="3021">
                  <c:v>43837</c:v>
                </c:pt>
                <c:pt idx="3022">
                  <c:v>43838</c:v>
                </c:pt>
                <c:pt idx="3023">
                  <c:v>43839</c:v>
                </c:pt>
                <c:pt idx="3024">
                  <c:v>43840</c:v>
                </c:pt>
                <c:pt idx="3025">
                  <c:v>43841</c:v>
                </c:pt>
                <c:pt idx="3026">
                  <c:v>43842</c:v>
                </c:pt>
                <c:pt idx="3027">
                  <c:v>43843</c:v>
                </c:pt>
                <c:pt idx="3028">
                  <c:v>43844</c:v>
                </c:pt>
                <c:pt idx="3029">
                  <c:v>43845</c:v>
                </c:pt>
                <c:pt idx="3030">
                  <c:v>43846</c:v>
                </c:pt>
                <c:pt idx="3031">
                  <c:v>43847</c:v>
                </c:pt>
                <c:pt idx="3032">
                  <c:v>43848</c:v>
                </c:pt>
                <c:pt idx="3033">
                  <c:v>43849</c:v>
                </c:pt>
                <c:pt idx="3034">
                  <c:v>43850</c:v>
                </c:pt>
                <c:pt idx="3035">
                  <c:v>43851</c:v>
                </c:pt>
                <c:pt idx="3036">
                  <c:v>43852</c:v>
                </c:pt>
                <c:pt idx="3037">
                  <c:v>43853</c:v>
                </c:pt>
                <c:pt idx="3038">
                  <c:v>43854</c:v>
                </c:pt>
                <c:pt idx="3039">
                  <c:v>43855</c:v>
                </c:pt>
                <c:pt idx="3040">
                  <c:v>43856</c:v>
                </c:pt>
                <c:pt idx="3041">
                  <c:v>43857</c:v>
                </c:pt>
                <c:pt idx="3042">
                  <c:v>43858</c:v>
                </c:pt>
                <c:pt idx="3043">
                  <c:v>43859</c:v>
                </c:pt>
                <c:pt idx="3044">
                  <c:v>43860</c:v>
                </c:pt>
                <c:pt idx="3045">
                  <c:v>43861</c:v>
                </c:pt>
                <c:pt idx="3046">
                  <c:v>43862</c:v>
                </c:pt>
                <c:pt idx="3047">
                  <c:v>43863</c:v>
                </c:pt>
                <c:pt idx="3048">
                  <c:v>43864</c:v>
                </c:pt>
                <c:pt idx="3049">
                  <c:v>43865</c:v>
                </c:pt>
                <c:pt idx="3050">
                  <c:v>43866</c:v>
                </c:pt>
                <c:pt idx="3051">
                  <c:v>43867</c:v>
                </c:pt>
                <c:pt idx="3052">
                  <c:v>43868</c:v>
                </c:pt>
                <c:pt idx="3053">
                  <c:v>43869</c:v>
                </c:pt>
                <c:pt idx="3054">
                  <c:v>43870</c:v>
                </c:pt>
                <c:pt idx="3055">
                  <c:v>43871</c:v>
                </c:pt>
                <c:pt idx="3056">
                  <c:v>43872</c:v>
                </c:pt>
                <c:pt idx="3057">
                  <c:v>43873</c:v>
                </c:pt>
                <c:pt idx="3058">
                  <c:v>43874</c:v>
                </c:pt>
                <c:pt idx="3059">
                  <c:v>43875</c:v>
                </c:pt>
                <c:pt idx="3060">
                  <c:v>43876</c:v>
                </c:pt>
                <c:pt idx="3061">
                  <c:v>43877</c:v>
                </c:pt>
                <c:pt idx="3062">
                  <c:v>43878</c:v>
                </c:pt>
                <c:pt idx="3063">
                  <c:v>43879</c:v>
                </c:pt>
                <c:pt idx="3064">
                  <c:v>43880</c:v>
                </c:pt>
                <c:pt idx="3065">
                  <c:v>43881</c:v>
                </c:pt>
                <c:pt idx="3066">
                  <c:v>43882</c:v>
                </c:pt>
                <c:pt idx="3067">
                  <c:v>43883</c:v>
                </c:pt>
                <c:pt idx="3068">
                  <c:v>43884</c:v>
                </c:pt>
                <c:pt idx="3069">
                  <c:v>43885</c:v>
                </c:pt>
                <c:pt idx="3070">
                  <c:v>43886</c:v>
                </c:pt>
                <c:pt idx="3071">
                  <c:v>43887</c:v>
                </c:pt>
                <c:pt idx="3072">
                  <c:v>43888</c:v>
                </c:pt>
                <c:pt idx="3073">
                  <c:v>43889</c:v>
                </c:pt>
                <c:pt idx="3074">
                  <c:v>43890</c:v>
                </c:pt>
                <c:pt idx="3075">
                  <c:v>43891</c:v>
                </c:pt>
                <c:pt idx="3076">
                  <c:v>43892</c:v>
                </c:pt>
                <c:pt idx="3077">
                  <c:v>43893</c:v>
                </c:pt>
                <c:pt idx="3078">
                  <c:v>43894</c:v>
                </c:pt>
                <c:pt idx="3079">
                  <c:v>43895</c:v>
                </c:pt>
                <c:pt idx="3080">
                  <c:v>43896</c:v>
                </c:pt>
                <c:pt idx="3081">
                  <c:v>43897</c:v>
                </c:pt>
                <c:pt idx="3082">
                  <c:v>43898</c:v>
                </c:pt>
                <c:pt idx="3083">
                  <c:v>43899</c:v>
                </c:pt>
                <c:pt idx="3084">
                  <c:v>43900</c:v>
                </c:pt>
                <c:pt idx="3085">
                  <c:v>43901</c:v>
                </c:pt>
                <c:pt idx="3086">
                  <c:v>43902</c:v>
                </c:pt>
                <c:pt idx="3087">
                  <c:v>43903</c:v>
                </c:pt>
                <c:pt idx="3088">
                  <c:v>43904</c:v>
                </c:pt>
                <c:pt idx="3089">
                  <c:v>43905</c:v>
                </c:pt>
                <c:pt idx="3090">
                  <c:v>43906</c:v>
                </c:pt>
                <c:pt idx="3091">
                  <c:v>43907</c:v>
                </c:pt>
                <c:pt idx="3092">
                  <c:v>43908</c:v>
                </c:pt>
                <c:pt idx="3093">
                  <c:v>43909</c:v>
                </c:pt>
                <c:pt idx="3094">
                  <c:v>43910</c:v>
                </c:pt>
                <c:pt idx="3095">
                  <c:v>43911</c:v>
                </c:pt>
                <c:pt idx="3096">
                  <c:v>43912</c:v>
                </c:pt>
                <c:pt idx="3097">
                  <c:v>43913</c:v>
                </c:pt>
                <c:pt idx="3098">
                  <c:v>43914</c:v>
                </c:pt>
                <c:pt idx="3099">
                  <c:v>43915</c:v>
                </c:pt>
                <c:pt idx="3100">
                  <c:v>43916</c:v>
                </c:pt>
                <c:pt idx="3101">
                  <c:v>43917</c:v>
                </c:pt>
                <c:pt idx="3102">
                  <c:v>43918</c:v>
                </c:pt>
                <c:pt idx="3103">
                  <c:v>43919</c:v>
                </c:pt>
                <c:pt idx="3104">
                  <c:v>43920</c:v>
                </c:pt>
                <c:pt idx="3105">
                  <c:v>43921</c:v>
                </c:pt>
                <c:pt idx="3106">
                  <c:v>43922</c:v>
                </c:pt>
                <c:pt idx="3107">
                  <c:v>43923</c:v>
                </c:pt>
                <c:pt idx="3108">
                  <c:v>43924</c:v>
                </c:pt>
                <c:pt idx="3109">
                  <c:v>43925</c:v>
                </c:pt>
                <c:pt idx="3110">
                  <c:v>43926</c:v>
                </c:pt>
                <c:pt idx="3111">
                  <c:v>43927</c:v>
                </c:pt>
                <c:pt idx="3112">
                  <c:v>43928</c:v>
                </c:pt>
                <c:pt idx="3113">
                  <c:v>43929</c:v>
                </c:pt>
                <c:pt idx="3114">
                  <c:v>43930</c:v>
                </c:pt>
                <c:pt idx="3115">
                  <c:v>43931</c:v>
                </c:pt>
                <c:pt idx="3116">
                  <c:v>43932</c:v>
                </c:pt>
                <c:pt idx="3117">
                  <c:v>43933</c:v>
                </c:pt>
                <c:pt idx="3118">
                  <c:v>43934</c:v>
                </c:pt>
                <c:pt idx="3119">
                  <c:v>43935</c:v>
                </c:pt>
                <c:pt idx="3120">
                  <c:v>43936</c:v>
                </c:pt>
                <c:pt idx="3121">
                  <c:v>43937</c:v>
                </c:pt>
                <c:pt idx="3122">
                  <c:v>43938</c:v>
                </c:pt>
                <c:pt idx="3123">
                  <c:v>43939</c:v>
                </c:pt>
                <c:pt idx="3124">
                  <c:v>43940</c:v>
                </c:pt>
                <c:pt idx="3125">
                  <c:v>43941</c:v>
                </c:pt>
                <c:pt idx="3126">
                  <c:v>43942</c:v>
                </c:pt>
                <c:pt idx="3127">
                  <c:v>43943</c:v>
                </c:pt>
                <c:pt idx="3128">
                  <c:v>43944</c:v>
                </c:pt>
                <c:pt idx="3129">
                  <c:v>43945</c:v>
                </c:pt>
                <c:pt idx="3130">
                  <c:v>43946</c:v>
                </c:pt>
                <c:pt idx="3131">
                  <c:v>43947</c:v>
                </c:pt>
                <c:pt idx="3132">
                  <c:v>43948</c:v>
                </c:pt>
                <c:pt idx="3133">
                  <c:v>43949</c:v>
                </c:pt>
                <c:pt idx="3134">
                  <c:v>43950</c:v>
                </c:pt>
                <c:pt idx="3135">
                  <c:v>43951</c:v>
                </c:pt>
                <c:pt idx="3136">
                  <c:v>43952</c:v>
                </c:pt>
                <c:pt idx="3137">
                  <c:v>43953</c:v>
                </c:pt>
                <c:pt idx="3138">
                  <c:v>43954</c:v>
                </c:pt>
                <c:pt idx="3139">
                  <c:v>43955</c:v>
                </c:pt>
                <c:pt idx="3140">
                  <c:v>43956</c:v>
                </c:pt>
                <c:pt idx="3141">
                  <c:v>43957</c:v>
                </c:pt>
                <c:pt idx="3142">
                  <c:v>43958</c:v>
                </c:pt>
                <c:pt idx="3143">
                  <c:v>43959</c:v>
                </c:pt>
                <c:pt idx="3144">
                  <c:v>43960</c:v>
                </c:pt>
                <c:pt idx="3145">
                  <c:v>43961</c:v>
                </c:pt>
                <c:pt idx="3146">
                  <c:v>43962</c:v>
                </c:pt>
                <c:pt idx="3147">
                  <c:v>43963</c:v>
                </c:pt>
                <c:pt idx="3148">
                  <c:v>43964</c:v>
                </c:pt>
                <c:pt idx="3149">
                  <c:v>43965</c:v>
                </c:pt>
                <c:pt idx="3150">
                  <c:v>43966</c:v>
                </c:pt>
                <c:pt idx="3151">
                  <c:v>43967</c:v>
                </c:pt>
                <c:pt idx="3152">
                  <c:v>43968</c:v>
                </c:pt>
                <c:pt idx="3153">
                  <c:v>43969</c:v>
                </c:pt>
                <c:pt idx="3154">
                  <c:v>43970</c:v>
                </c:pt>
                <c:pt idx="3155">
                  <c:v>43971</c:v>
                </c:pt>
                <c:pt idx="3156">
                  <c:v>43972</c:v>
                </c:pt>
                <c:pt idx="3157">
                  <c:v>43973</c:v>
                </c:pt>
                <c:pt idx="3158">
                  <c:v>43974</c:v>
                </c:pt>
                <c:pt idx="3159">
                  <c:v>43975</c:v>
                </c:pt>
                <c:pt idx="3160">
                  <c:v>43976</c:v>
                </c:pt>
                <c:pt idx="3161">
                  <c:v>43977</c:v>
                </c:pt>
                <c:pt idx="3162">
                  <c:v>43978</c:v>
                </c:pt>
                <c:pt idx="3163">
                  <c:v>43979</c:v>
                </c:pt>
                <c:pt idx="3164">
                  <c:v>43980</c:v>
                </c:pt>
                <c:pt idx="3165">
                  <c:v>43981</c:v>
                </c:pt>
                <c:pt idx="3166">
                  <c:v>43982</c:v>
                </c:pt>
                <c:pt idx="3167">
                  <c:v>43983</c:v>
                </c:pt>
                <c:pt idx="3168">
                  <c:v>43984</c:v>
                </c:pt>
                <c:pt idx="3169">
                  <c:v>43985</c:v>
                </c:pt>
                <c:pt idx="3170">
                  <c:v>43986</c:v>
                </c:pt>
                <c:pt idx="3171">
                  <c:v>43987</c:v>
                </c:pt>
                <c:pt idx="3172">
                  <c:v>43988</c:v>
                </c:pt>
                <c:pt idx="3173">
                  <c:v>43989</c:v>
                </c:pt>
                <c:pt idx="3174">
                  <c:v>43990</c:v>
                </c:pt>
                <c:pt idx="3175">
                  <c:v>43991</c:v>
                </c:pt>
                <c:pt idx="3176">
                  <c:v>43992</c:v>
                </c:pt>
                <c:pt idx="3177">
                  <c:v>43993</c:v>
                </c:pt>
                <c:pt idx="3178">
                  <c:v>43994</c:v>
                </c:pt>
                <c:pt idx="3179">
                  <c:v>43995</c:v>
                </c:pt>
                <c:pt idx="3180">
                  <c:v>43996</c:v>
                </c:pt>
                <c:pt idx="3181">
                  <c:v>43997</c:v>
                </c:pt>
                <c:pt idx="3182">
                  <c:v>43998</c:v>
                </c:pt>
                <c:pt idx="3183">
                  <c:v>43999</c:v>
                </c:pt>
                <c:pt idx="3184">
                  <c:v>44000</c:v>
                </c:pt>
                <c:pt idx="3185">
                  <c:v>44001</c:v>
                </c:pt>
                <c:pt idx="3186">
                  <c:v>44002</c:v>
                </c:pt>
                <c:pt idx="3187">
                  <c:v>44003</c:v>
                </c:pt>
                <c:pt idx="3188">
                  <c:v>44004</c:v>
                </c:pt>
                <c:pt idx="3189">
                  <c:v>44005</c:v>
                </c:pt>
                <c:pt idx="3190">
                  <c:v>44006</c:v>
                </c:pt>
                <c:pt idx="3191">
                  <c:v>44007</c:v>
                </c:pt>
                <c:pt idx="3192">
                  <c:v>44008</c:v>
                </c:pt>
                <c:pt idx="3193">
                  <c:v>44009</c:v>
                </c:pt>
                <c:pt idx="3194">
                  <c:v>44010</c:v>
                </c:pt>
                <c:pt idx="3195">
                  <c:v>44011</c:v>
                </c:pt>
                <c:pt idx="3196">
                  <c:v>44012</c:v>
                </c:pt>
                <c:pt idx="3197">
                  <c:v>44013</c:v>
                </c:pt>
                <c:pt idx="3198">
                  <c:v>44014</c:v>
                </c:pt>
                <c:pt idx="3199">
                  <c:v>44015</c:v>
                </c:pt>
                <c:pt idx="3200">
                  <c:v>44016</c:v>
                </c:pt>
                <c:pt idx="3201">
                  <c:v>44017</c:v>
                </c:pt>
                <c:pt idx="3202">
                  <c:v>44018</c:v>
                </c:pt>
                <c:pt idx="3203">
                  <c:v>44019</c:v>
                </c:pt>
                <c:pt idx="3204">
                  <c:v>44020</c:v>
                </c:pt>
                <c:pt idx="3205">
                  <c:v>44021</c:v>
                </c:pt>
                <c:pt idx="3206">
                  <c:v>44022</c:v>
                </c:pt>
                <c:pt idx="3207">
                  <c:v>44023</c:v>
                </c:pt>
                <c:pt idx="3208">
                  <c:v>44024</c:v>
                </c:pt>
                <c:pt idx="3209">
                  <c:v>44025</c:v>
                </c:pt>
                <c:pt idx="3210">
                  <c:v>44026</c:v>
                </c:pt>
                <c:pt idx="3211">
                  <c:v>44027</c:v>
                </c:pt>
                <c:pt idx="3212">
                  <c:v>44028</c:v>
                </c:pt>
                <c:pt idx="3213">
                  <c:v>44029</c:v>
                </c:pt>
                <c:pt idx="3214">
                  <c:v>44030</c:v>
                </c:pt>
                <c:pt idx="3215">
                  <c:v>44031</c:v>
                </c:pt>
                <c:pt idx="3216">
                  <c:v>44032</c:v>
                </c:pt>
                <c:pt idx="3217">
                  <c:v>44033</c:v>
                </c:pt>
                <c:pt idx="3218">
                  <c:v>44034</c:v>
                </c:pt>
                <c:pt idx="3219">
                  <c:v>44035</c:v>
                </c:pt>
                <c:pt idx="3220">
                  <c:v>44036</c:v>
                </c:pt>
                <c:pt idx="3221">
                  <c:v>44037</c:v>
                </c:pt>
                <c:pt idx="3222">
                  <c:v>44038</c:v>
                </c:pt>
                <c:pt idx="3223">
                  <c:v>44039</c:v>
                </c:pt>
                <c:pt idx="3224">
                  <c:v>44040</c:v>
                </c:pt>
                <c:pt idx="3225">
                  <c:v>44041</c:v>
                </c:pt>
                <c:pt idx="3226">
                  <c:v>44042</c:v>
                </c:pt>
                <c:pt idx="3227">
                  <c:v>44043</c:v>
                </c:pt>
                <c:pt idx="3228">
                  <c:v>44044</c:v>
                </c:pt>
                <c:pt idx="3229">
                  <c:v>44045</c:v>
                </c:pt>
                <c:pt idx="3230">
                  <c:v>44046</c:v>
                </c:pt>
                <c:pt idx="3231">
                  <c:v>44047</c:v>
                </c:pt>
                <c:pt idx="3232">
                  <c:v>44048</c:v>
                </c:pt>
                <c:pt idx="3233">
                  <c:v>44049</c:v>
                </c:pt>
                <c:pt idx="3234">
                  <c:v>44050</c:v>
                </c:pt>
                <c:pt idx="3235">
                  <c:v>44051</c:v>
                </c:pt>
                <c:pt idx="3236">
                  <c:v>44052</c:v>
                </c:pt>
                <c:pt idx="3237">
                  <c:v>44053</c:v>
                </c:pt>
                <c:pt idx="3238">
                  <c:v>44054</c:v>
                </c:pt>
                <c:pt idx="3239">
                  <c:v>44055</c:v>
                </c:pt>
                <c:pt idx="3240">
                  <c:v>44056</c:v>
                </c:pt>
                <c:pt idx="3241">
                  <c:v>44057</c:v>
                </c:pt>
                <c:pt idx="3242">
                  <c:v>44058</c:v>
                </c:pt>
                <c:pt idx="3243">
                  <c:v>44059</c:v>
                </c:pt>
                <c:pt idx="3244">
                  <c:v>44060</c:v>
                </c:pt>
                <c:pt idx="3245">
                  <c:v>44061</c:v>
                </c:pt>
                <c:pt idx="3246">
                  <c:v>44062</c:v>
                </c:pt>
                <c:pt idx="3247">
                  <c:v>44063</c:v>
                </c:pt>
                <c:pt idx="3248">
                  <c:v>44064</c:v>
                </c:pt>
                <c:pt idx="3249">
                  <c:v>44065</c:v>
                </c:pt>
                <c:pt idx="3250">
                  <c:v>44066</c:v>
                </c:pt>
                <c:pt idx="3251">
                  <c:v>44067</c:v>
                </c:pt>
                <c:pt idx="3252">
                  <c:v>44068</c:v>
                </c:pt>
                <c:pt idx="3253">
                  <c:v>44069</c:v>
                </c:pt>
                <c:pt idx="3254">
                  <c:v>44070</c:v>
                </c:pt>
                <c:pt idx="3255">
                  <c:v>44071</c:v>
                </c:pt>
                <c:pt idx="3256">
                  <c:v>44072</c:v>
                </c:pt>
                <c:pt idx="3257">
                  <c:v>44073</c:v>
                </c:pt>
                <c:pt idx="3258">
                  <c:v>44074</c:v>
                </c:pt>
                <c:pt idx="3259">
                  <c:v>44075</c:v>
                </c:pt>
                <c:pt idx="3260">
                  <c:v>44076</c:v>
                </c:pt>
                <c:pt idx="3261">
                  <c:v>44077</c:v>
                </c:pt>
                <c:pt idx="3262">
                  <c:v>44078</c:v>
                </c:pt>
                <c:pt idx="3263">
                  <c:v>44079</c:v>
                </c:pt>
                <c:pt idx="3264">
                  <c:v>44080</c:v>
                </c:pt>
                <c:pt idx="3265">
                  <c:v>44081</c:v>
                </c:pt>
                <c:pt idx="3266">
                  <c:v>44082</c:v>
                </c:pt>
                <c:pt idx="3267">
                  <c:v>44083</c:v>
                </c:pt>
                <c:pt idx="3268">
                  <c:v>44084</c:v>
                </c:pt>
                <c:pt idx="3269">
                  <c:v>44085</c:v>
                </c:pt>
                <c:pt idx="3270">
                  <c:v>44086</c:v>
                </c:pt>
                <c:pt idx="3271">
                  <c:v>44087</c:v>
                </c:pt>
                <c:pt idx="3272">
                  <c:v>44088</c:v>
                </c:pt>
                <c:pt idx="3273">
                  <c:v>44089</c:v>
                </c:pt>
                <c:pt idx="3274">
                  <c:v>44090</c:v>
                </c:pt>
                <c:pt idx="3275">
                  <c:v>44091</c:v>
                </c:pt>
                <c:pt idx="3276">
                  <c:v>44092</c:v>
                </c:pt>
                <c:pt idx="3277">
                  <c:v>44093</c:v>
                </c:pt>
                <c:pt idx="3278">
                  <c:v>44094</c:v>
                </c:pt>
                <c:pt idx="3279">
                  <c:v>44095</c:v>
                </c:pt>
                <c:pt idx="3280">
                  <c:v>44096</c:v>
                </c:pt>
                <c:pt idx="3281">
                  <c:v>44097</c:v>
                </c:pt>
                <c:pt idx="3282">
                  <c:v>44098</c:v>
                </c:pt>
                <c:pt idx="3283">
                  <c:v>44099</c:v>
                </c:pt>
                <c:pt idx="3284">
                  <c:v>44100</c:v>
                </c:pt>
                <c:pt idx="3285">
                  <c:v>44101</c:v>
                </c:pt>
                <c:pt idx="3286">
                  <c:v>44102</c:v>
                </c:pt>
                <c:pt idx="3287">
                  <c:v>44103</c:v>
                </c:pt>
                <c:pt idx="3288">
                  <c:v>44104</c:v>
                </c:pt>
                <c:pt idx="3289">
                  <c:v>44105</c:v>
                </c:pt>
                <c:pt idx="3290">
                  <c:v>44106</c:v>
                </c:pt>
                <c:pt idx="3291">
                  <c:v>44107</c:v>
                </c:pt>
                <c:pt idx="3292">
                  <c:v>44108</c:v>
                </c:pt>
                <c:pt idx="3293">
                  <c:v>44109</c:v>
                </c:pt>
                <c:pt idx="3294">
                  <c:v>44110</c:v>
                </c:pt>
                <c:pt idx="3295">
                  <c:v>44111</c:v>
                </c:pt>
                <c:pt idx="3296">
                  <c:v>44112</c:v>
                </c:pt>
                <c:pt idx="3297">
                  <c:v>44113</c:v>
                </c:pt>
                <c:pt idx="3298">
                  <c:v>44114</c:v>
                </c:pt>
                <c:pt idx="3299">
                  <c:v>44115</c:v>
                </c:pt>
                <c:pt idx="3300">
                  <c:v>44116</c:v>
                </c:pt>
                <c:pt idx="3301">
                  <c:v>44117</c:v>
                </c:pt>
                <c:pt idx="3302">
                  <c:v>44118</c:v>
                </c:pt>
                <c:pt idx="3303">
                  <c:v>44119</c:v>
                </c:pt>
                <c:pt idx="3304">
                  <c:v>44120</c:v>
                </c:pt>
                <c:pt idx="3305">
                  <c:v>44121</c:v>
                </c:pt>
                <c:pt idx="3306">
                  <c:v>44122</c:v>
                </c:pt>
                <c:pt idx="3307">
                  <c:v>44123</c:v>
                </c:pt>
                <c:pt idx="3308">
                  <c:v>44124</c:v>
                </c:pt>
                <c:pt idx="3309">
                  <c:v>44125</c:v>
                </c:pt>
                <c:pt idx="3310">
                  <c:v>44126</c:v>
                </c:pt>
                <c:pt idx="3311">
                  <c:v>44127</c:v>
                </c:pt>
                <c:pt idx="3312">
                  <c:v>44128</c:v>
                </c:pt>
                <c:pt idx="3313">
                  <c:v>44129</c:v>
                </c:pt>
                <c:pt idx="3314">
                  <c:v>44130</c:v>
                </c:pt>
                <c:pt idx="3315">
                  <c:v>44131</c:v>
                </c:pt>
                <c:pt idx="3316">
                  <c:v>44132</c:v>
                </c:pt>
                <c:pt idx="3317">
                  <c:v>44133</c:v>
                </c:pt>
                <c:pt idx="3318">
                  <c:v>44134</c:v>
                </c:pt>
                <c:pt idx="3319">
                  <c:v>44135</c:v>
                </c:pt>
                <c:pt idx="3320">
                  <c:v>44136</c:v>
                </c:pt>
                <c:pt idx="3321">
                  <c:v>44137</c:v>
                </c:pt>
                <c:pt idx="3322">
                  <c:v>44138</c:v>
                </c:pt>
                <c:pt idx="3323">
                  <c:v>44139</c:v>
                </c:pt>
                <c:pt idx="3324">
                  <c:v>44140</c:v>
                </c:pt>
                <c:pt idx="3325">
                  <c:v>44141</c:v>
                </c:pt>
                <c:pt idx="3326">
                  <c:v>44142</c:v>
                </c:pt>
                <c:pt idx="3327">
                  <c:v>44143</c:v>
                </c:pt>
                <c:pt idx="3328">
                  <c:v>44144</c:v>
                </c:pt>
                <c:pt idx="3329">
                  <c:v>44145</c:v>
                </c:pt>
                <c:pt idx="3330">
                  <c:v>44146</c:v>
                </c:pt>
                <c:pt idx="3331">
                  <c:v>44147</c:v>
                </c:pt>
                <c:pt idx="3332">
                  <c:v>44148</c:v>
                </c:pt>
                <c:pt idx="3333">
                  <c:v>44149</c:v>
                </c:pt>
                <c:pt idx="3334">
                  <c:v>44150</c:v>
                </c:pt>
                <c:pt idx="3335">
                  <c:v>44151</c:v>
                </c:pt>
                <c:pt idx="3336">
                  <c:v>44152</c:v>
                </c:pt>
                <c:pt idx="3337">
                  <c:v>44153</c:v>
                </c:pt>
                <c:pt idx="3338">
                  <c:v>44154</c:v>
                </c:pt>
                <c:pt idx="3339">
                  <c:v>44155</c:v>
                </c:pt>
                <c:pt idx="3340">
                  <c:v>44156</c:v>
                </c:pt>
                <c:pt idx="3341">
                  <c:v>44157</c:v>
                </c:pt>
                <c:pt idx="3342">
                  <c:v>44158</c:v>
                </c:pt>
                <c:pt idx="3343">
                  <c:v>44159</c:v>
                </c:pt>
                <c:pt idx="3344">
                  <c:v>44160</c:v>
                </c:pt>
                <c:pt idx="3345">
                  <c:v>44161</c:v>
                </c:pt>
                <c:pt idx="3346">
                  <c:v>44162</c:v>
                </c:pt>
                <c:pt idx="3347">
                  <c:v>44163</c:v>
                </c:pt>
                <c:pt idx="3348">
                  <c:v>44164</c:v>
                </c:pt>
                <c:pt idx="3349">
                  <c:v>44165</c:v>
                </c:pt>
                <c:pt idx="3350">
                  <c:v>44166</c:v>
                </c:pt>
                <c:pt idx="3351">
                  <c:v>44167</c:v>
                </c:pt>
                <c:pt idx="3352">
                  <c:v>44168</c:v>
                </c:pt>
                <c:pt idx="3353">
                  <c:v>44169</c:v>
                </c:pt>
                <c:pt idx="3354">
                  <c:v>44170</c:v>
                </c:pt>
                <c:pt idx="3355">
                  <c:v>44171</c:v>
                </c:pt>
                <c:pt idx="3356">
                  <c:v>44172</c:v>
                </c:pt>
                <c:pt idx="3357">
                  <c:v>44173</c:v>
                </c:pt>
                <c:pt idx="3358">
                  <c:v>44174</c:v>
                </c:pt>
                <c:pt idx="3359">
                  <c:v>44175</c:v>
                </c:pt>
                <c:pt idx="3360">
                  <c:v>44176</c:v>
                </c:pt>
                <c:pt idx="3361">
                  <c:v>44177</c:v>
                </c:pt>
                <c:pt idx="3362">
                  <c:v>44178</c:v>
                </c:pt>
                <c:pt idx="3363">
                  <c:v>44179</c:v>
                </c:pt>
                <c:pt idx="3364">
                  <c:v>44180</c:v>
                </c:pt>
                <c:pt idx="3365">
                  <c:v>44181</c:v>
                </c:pt>
                <c:pt idx="3366">
                  <c:v>44182</c:v>
                </c:pt>
                <c:pt idx="3367">
                  <c:v>44183</c:v>
                </c:pt>
                <c:pt idx="3368">
                  <c:v>44184</c:v>
                </c:pt>
                <c:pt idx="3369">
                  <c:v>44185</c:v>
                </c:pt>
                <c:pt idx="3370">
                  <c:v>44186</c:v>
                </c:pt>
                <c:pt idx="3371">
                  <c:v>44187</c:v>
                </c:pt>
                <c:pt idx="3372">
                  <c:v>44188</c:v>
                </c:pt>
                <c:pt idx="3373">
                  <c:v>44189</c:v>
                </c:pt>
                <c:pt idx="3374">
                  <c:v>44190</c:v>
                </c:pt>
                <c:pt idx="3375">
                  <c:v>44191</c:v>
                </c:pt>
                <c:pt idx="3376">
                  <c:v>44192</c:v>
                </c:pt>
                <c:pt idx="3377">
                  <c:v>44193</c:v>
                </c:pt>
                <c:pt idx="3378">
                  <c:v>44194</c:v>
                </c:pt>
                <c:pt idx="3379">
                  <c:v>44195</c:v>
                </c:pt>
                <c:pt idx="3380">
                  <c:v>44196</c:v>
                </c:pt>
                <c:pt idx="3381">
                  <c:v>44197</c:v>
                </c:pt>
                <c:pt idx="3382">
                  <c:v>44198</c:v>
                </c:pt>
                <c:pt idx="3383">
                  <c:v>44199</c:v>
                </c:pt>
                <c:pt idx="3384">
                  <c:v>44200</c:v>
                </c:pt>
                <c:pt idx="3385">
                  <c:v>44201</c:v>
                </c:pt>
                <c:pt idx="3386">
                  <c:v>44202</c:v>
                </c:pt>
                <c:pt idx="3387">
                  <c:v>44203</c:v>
                </c:pt>
                <c:pt idx="3388">
                  <c:v>44204</c:v>
                </c:pt>
                <c:pt idx="3389">
                  <c:v>44205</c:v>
                </c:pt>
                <c:pt idx="3390">
                  <c:v>44206</c:v>
                </c:pt>
                <c:pt idx="3391">
                  <c:v>44207</c:v>
                </c:pt>
                <c:pt idx="3392">
                  <c:v>44208</c:v>
                </c:pt>
                <c:pt idx="3393">
                  <c:v>44209</c:v>
                </c:pt>
                <c:pt idx="3394">
                  <c:v>44210</c:v>
                </c:pt>
                <c:pt idx="3395">
                  <c:v>44211</c:v>
                </c:pt>
                <c:pt idx="3396">
                  <c:v>44212</c:v>
                </c:pt>
                <c:pt idx="3397">
                  <c:v>44213</c:v>
                </c:pt>
                <c:pt idx="3398">
                  <c:v>44214</c:v>
                </c:pt>
                <c:pt idx="3399">
                  <c:v>44215</c:v>
                </c:pt>
                <c:pt idx="3400">
                  <c:v>44216</c:v>
                </c:pt>
                <c:pt idx="3401">
                  <c:v>44217</c:v>
                </c:pt>
                <c:pt idx="3402">
                  <c:v>44218</c:v>
                </c:pt>
                <c:pt idx="3403">
                  <c:v>44219</c:v>
                </c:pt>
                <c:pt idx="3404">
                  <c:v>44220</c:v>
                </c:pt>
                <c:pt idx="3405">
                  <c:v>44221</c:v>
                </c:pt>
                <c:pt idx="3406">
                  <c:v>44222</c:v>
                </c:pt>
                <c:pt idx="3407">
                  <c:v>44223</c:v>
                </c:pt>
                <c:pt idx="3408">
                  <c:v>44224</c:v>
                </c:pt>
                <c:pt idx="3409">
                  <c:v>44225</c:v>
                </c:pt>
                <c:pt idx="3410">
                  <c:v>44226</c:v>
                </c:pt>
                <c:pt idx="3411">
                  <c:v>44227</c:v>
                </c:pt>
                <c:pt idx="3412">
                  <c:v>44228</c:v>
                </c:pt>
                <c:pt idx="3413">
                  <c:v>44229</c:v>
                </c:pt>
                <c:pt idx="3414">
                  <c:v>44230</c:v>
                </c:pt>
                <c:pt idx="3415">
                  <c:v>44231</c:v>
                </c:pt>
                <c:pt idx="3416">
                  <c:v>44232</c:v>
                </c:pt>
                <c:pt idx="3417">
                  <c:v>44233</c:v>
                </c:pt>
                <c:pt idx="3418">
                  <c:v>44234</c:v>
                </c:pt>
                <c:pt idx="3419">
                  <c:v>44235</c:v>
                </c:pt>
                <c:pt idx="3420">
                  <c:v>44236</c:v>
                </c:pt>
                <c:pt idx="3421">
                  <c:v>44237</c:v>
                </c:pt>
                <c:pt idx="3422">
                  <c:v>44238</c:v>
                </c:pt>
                <c:pt idx="3423">
                  <c:v>44239</c:v>
                </c:pt>
                <c:pt idx="3424">
                  <c:v>44240</c:v>
                </c:pt>
                <c:pt idx="3425">
                  <c:v>44241</c:v>
                </c:pt>
                <c:pt idx="3426">
                  <c:v>44242</c:v>
                </c:pt>
                <c:pt idx="3427">
                  <c:v>44243</c:v>
                </c:pt>
                <c:pt idx="3428">
                  <c:v>44244</c:v>
                </c:pt>
                <c:pt idx="3429">
                  <c:v>44245</c:v>
                </c:pt>
                <c:pt idx="3430">
                  <c:v>44246</c:v>
                </c:pt>
                <c:pt idx="3431">
                  <c:v>44247</c:v>
                </c:pt>
                <c:pt idx="3432">
                  <c:v>44248</c:v>
                </c:pt>
                <c:pt idx="3433">
                  <c:v>44249</c:v>
                </c:pt>
                <c:pt idx="3434">
                  <c:v>44250</c:v>
                </c:pt>
                <c:pt idx="3435">
                  <c:v>44251</c:v>
                </c:pt>
                <c:pt idx="3436">
                  <c:v>44252</c:v>
                </c:pt>
                <c:pt idx="3437">
                  <c:v>44253</c:v>
                </c:pt>
                <c:pt idx="3438">
                  <c:v>44254</c:v>
                </c:pt>
                <c:pt idx="3439">
                  <c:v>44255</c:v>
                </c:pt>
                <c:pt idx="3440">
                  <c:v>44256</c:v>
                </c:pt>
                <c:pt idx="3441">
                  <c:v>44257</c:v>
                </c:pt>
                <c:pt idx="3442">
                  <c:v>44258</c:v>
                </c:pt>
                <c:pt idx="3443">
                  <c:v>44259</c:v>
                </c:pt>
                <c:pt idx="3444">
                  <c:v>44260</c:v>
                </c:pt>
                <c:pt idx="3445">
                  <c:v>44261</c:v>
                </c:pt>
                <c:pt idx="3446">
                  <c:v>44262</c:v>
                </c:pt>
                <c:pt idx="3447">
                  <c:v>44263</c:v>
                </c:pt>
                <c:pt idx="3448">
                  <c:v>44264</c:v>
                </c:pt>
                <c:pt idx="3449">
                  <c:v>44265</c:v>
                </c:pt>
                <c:pt idx="3450">
                  <c:v>44266</c:v>
                </c:pt>
                <c:pt idx="3451">
                  <c:v>44267</c:v>
                </c:pt>
                <c:pt idx="3452">
                  <c:v>44268</c:v>
                </c:pt>
                <c:pt idx="3453">
                  <c:v>44269</c:v>
                </c:pt>
                <c:pt idx="3454">
                  <c:v>44270</c:v>
                </c:pt>
                <c:pt idx="3455">
                  <c:v>44271</c:v>
                </c:pt>
                <c:pt idx="3456">
                  <c:v>44272</c:v>
                </c:pt>
                <c:pt idx="3457">
                  <c:v>44273</c:v>
                </c:pt>
                <c:pt idx="3458">
                  <c:v>44274</c:v>
                </c:pt>
                <c:pt idx="3459">
                  <c:v>44275</c:v>
                </c:pt>
                <c:pt idx="3460">
                  <c:v>44276</c:v>
                </c:pt>
                <c:pt idx="3461">
                  <c:v>44277</c:v>
                </c:pt>
                <c:pt idx="3462">
                  <c:v>44278</c:v>
                </c:pt>
                <c:pt idx="3463">
                  <c:v>44279</c:v>
                </c:pt>
                <c:pt idx="3464">
                  <c:v>44280</c:v>
                </c:pt>
                <c:pt idx="3465">
                  <c:v>44281</c:v>
                </c:pt>
                <c:pt idx="3466">
                  <c:v>44282</c:v>
                </c:pt>
                <c:pt idx="3467">
                  <c:v>44283</c:v>
                </c:pt>
                <c:pt idx="3468">
                  <c:v>44284</c:v>
                </c:pt>
                <c:pt idx="3469">
                  <c:v>44285</c:v>
                </c:pt>
                <c:pt idx="3470">
                  <c:v>44286</c:v>
                </c:pt>
                <c:pt idx="3471">
                  <c:v>44287</c:v>
                </c:pt>
                <c:pt idx="3472">
                  <c:v>44288</c:v>
                </c:pt>
                <c:pt idx="3473">
                  <c:v>44289</c:v>
                </c:pt>
                <c:pt idx="3474">
                  <c:v>44290</c:v>
                </c:pt>
                <c:pt idx="3475">
                  <c:v>44291</c:v>
                </c:pt>
                <c:pt idx="3476">
                  <c:v>44292</c:v>
                </c:pt>
                <c:pt idx="3477">
                  <c:v>44293</c:v>
                </c:pt>
                <c:pt idx="3478">
                  <c:v>44294</c:v>
                </c:pt>
                <c:pt idx="3479">
                  <c:v>44295</c:v>
                </c:pt>
                <c:pt idx="3480">
                  <c:v>44296</c:v>
                </c:pt>
                <c:pt idx="3481">
                  <c:v>44297</c:v>
                </c:pt>
                <c:pt idx="3482">
                  <c:v>44298</c:v>
                </c:pt>
                <c:pt idx="3483">
                  <c:v>44299</c:v>
                </c:pt>
                <c:pt idx="3484">
                  <c:v>44300</c:v>
                </c:pt>
                <c:pt idx="3485">
                  <c:v>44301</c:v>
                </c:pt>
                <c:pt idx="3486">
                  <c:v>44302</c:v>
                </c:pt>
                <c:pt idx="3487">
                  <c:v>44303</c:v>
                </c:pt>
                <c:pt idx="3488">
                  <c:v>44304</c:v>
                </c:pt>
                <c:pt idx="3489">
                  <c:v>44305</c:v>
                </c:pt>
                <c:pt idx="3490">
                  <c:v>44306</c:v>
                </c:pt>
                <c:pt idx="3491">
                  <c:v>44307</c:v>
                </c:pt>
                <c:pt idx="3492">
                  <c:v>44308</c:v>
                </c:pt>
                <c:pt idx="3493">
                  <c:v>44309</c:v>
                </c:pt>
                <c:pt idx="3494">
                  <c:v>44310</c:v>
                </c:pt>
                <c:pt idx="3495">
                  <c:v>44311</c:v>
                </c:pt>
                <c:pt idx="3496">
                  <c:v>44312</c:v>
                </c:pt>
                <c:pt idx="3497">
                  <c:v>44313</c:v>
                </c:pt>
                <c:pt idx="3498">
                  <c:v>44314</c:v>
                </c:pt>
                <c:pt idx="3499">
                  <c:v>44315</c:v>
                </c:pt>
                <c:pt idx="3500">
                  <c:v>44316</c:v>
                </c:pt>
                <c:pt idx="3501">
                  <c:v>44317</c:v>
                </c:pt>
                <c:pt idx="3502">
                  <c:v>44318</c:v>
                </c:pt>
                <c:pt idx="3503">
                  <c:v>44319</c:v>
                </c:pt>
                <c:pt idx="3504">
                  <c:v>44320</c:v>
                </c:pt>
                <c:pt idx="3505">
                  <c:v>44321</c:v>
                </c:pt>
                <c:pt idx="3506">
                  <c:v>44322</c:v>
                </c:pt>
                <c:pt idx="3507">
                  <c:v>44323</c:v>
                </c:pt>
                <c:pt idx="3508">
                  <c:v>44324</c:v>
                </c:pt>
                <c:pt idx="3509">
                  <c:v>44325</c:v>
                </c:pt>
                <c:pt idx="3510">
                  <c:v>44326</c:v>
                </c:pt>
                <c:pt idx="3511">
                  <c:v>44327</c:v>
                </c:pt>
                <c:pt idx="3512">
                  <c:v>44328</c:v>
                </c:pt>
                <c:pt idx="3513">
                  <c:v>44329</c:v>
                </c:pt>
                <c:pt idx="3514">
                  <c:v>44330</c:v>
                </c:pt>
                <c:pt idx="3515">
                  <c:v>44331</c:v>
                </c:pt>
                <c:pt idx="3516">
                  <c:v>44332</c:v>
                </c:pt>
                <c:pt idx="3517">
                  <c:v>44333</c:v>
                </c:pt>
                <c:pt idx="3518">
                  <c:v>44334</c:v>
                </c:pt>
                <c:pt idx="3519">
                  <c:v>44335</c:v>
                </c:pt>
                <c:pt idx="3520">
                  <c:v>44336</c:v>
                </c:pt>
                <c:pt idx="3521">
                  <c:v>44337</c:v>
                </c:pt>
                <c:pt idx="3522">
                  <c:v>44338</c:v>
                </c:pt>
                <c:pt idx="3523">
                  <c:v>44339</c:v>
                </c:pt>
                <c:pt idx="3524">
                  <c:v>44340</c:v>
                </c:pt>
                <c:pt idx="3525">
                  <c:v>44341</c:v>
                </c:pt>
                <c:pt idx="3526">
                  <c:v>44342</c:v>
                </c:pt>
                <c:pt idx="3527">
                  <c:v>44343</c:v>
                </c:pt>
                <c:pt idx="3528">
                  <c:v>44344</c:v>
                </c:pt>
                <c:pt idx="3529">
                  <c:v>44345</c:v>
                </c:pt>
                <c:pt idx="3530">
                  <c:v>44346</c:v>
                </c:pt>
                <c:pt idx="3531">
                  <c:v>44347</c:v>
                </c:pt>
                <c:pt idx="3532">
                  <c:v>44348</c:v>
                </c:pt>
                <c:pt idx="3533">
                  <c:v>44349</c:v>
                </c:pt>
                <c:pt idx="3534">
                  <c:v>44350</c:v>
                </c:pt>
                <c:pt idx="3535">
                  <c:v>44351</c:v>
                </c:pt>
                <c:pt idx="3536">
                  <c:v>44352</c:v>
                </c:pt>
                <c:pt idx="3537">
                  <c:v>44353</c:v>
                </c:pt>
                <c:pt idx="3538">
                  <c:v>44354</c:v>
                </c:pt>
                <c:pt idx="3539">
                  <c:v>44355</c:v>
                </c:pt>
                <c:pt idx="3540">
                  <c:v>44356</c:v>
                </c:pt>
                <c:pt idx="3541">
                  <c:v>44357</c:v>
                </c:pt>
                <c:pt idx="3542">
                  <c:v>44358</c:v>
                </c:pt>
                <c:pt idx="3543">
                  <c:v>44359</c:v>
                </c:pt>
                <c:pt idx="3544">
                  <c:v>44360</c:v>
                </c:pt>
                <c:pt idx="3545">
                  <c:v>44361</c:v>
                </c:pt>
                <c:pt idx="3546">
                  <c:v>44362</c:v>
                </c:pt>
                <c:pt idx="3547">
                  <c:v>44363</c:v>
                </c:pt>
                <c:pt idx="3548">
                  <c:v>44364</c:v>
                </c:pt>
                <c:pt idx="3549">
                  <c:v>44365</c:v>
                </c:pt>
                <c:pt idx="3550">
                  <c:v>44366</c:v>
                </c:pt>
                <c:pt idx="3551">
                  <c:v>44367</c:v>
                </c:pt>
                <c:pt idx="3552">
                  <c:v>44368</c:v>
                </c:pt>
                <c:pt idx="3553">
                  <c:v>44369</c:v>
                </c:pt>
                <c:pt idx="3554">
                  <c:v>44370</c:v>
                </c:pt>
                <c:pt idx="3555">
                  <c:v>44371</c:v>
                </c:pt>
                <c:pt idx="3556">
                  <c:v>44372</c:v>
                </c:pt>
                <c:pt idx="3557">
                  <c:v>44373</c:v>
                </c:pt>
                <c:pt idx="3558">
                  <c:v>44374</c:v>
                </c:pt>
                <c:pt idx="3559">
                  <c:v>44375</c:v>
                </c:pt>
                <c:pt idx="3560">
                  <c:v>44376</c:v>
                </c:pt>
                <c:pt idx="3561">
                  <c:v>44377</c:v>
                </c:pt>
                <c:pt idx="3562">
                  <c:v>44378</c:v>
                </c:pt>
                <c:pt idx="3563">
                  <c:v>44379</c:v>
                </c:pt>
                <c:pt idx="3564">
                  <c:v>44380</c:v>
                </c:pt>
                <c:pt idx="3565">
                  <c:v>44381</c:v>
                </c:pt>
                <c:pt idx="3566">
                  <c:v>44382</c:v>
                </c:pt>
                <c:pt idx="3567">
                  <c:v>44383</c:v>
                </c:pt>
                <c:pt idx="3568">
                  <c:v>44384</c:v>
                </c:pt>
                <c:pt idx="3569">
                  <c:v>44385</c:v>
                </c:pt>
                <c:pt idx="3570">
                  <c:v>44386</c:v>
                </c:pt>
                <c:pt idx="3571">
                  <c:v>44387</c:v>
                </c:pt>
                <c:pt idx="3572">
                  <c:v>44388</c:v>
                </c:pt>
                <c:pt idx="3573">
                  <c:v>44389</c:v>
                </c:pt>
                <c:pt idx="3574">
                  <c:v>44390</c:v>
                </c:pt>
                <c:pt idx="3575">
                  <c:v>44391</c:v>
                </c:pt>
                <c:pt idx="3576">
                  <c:v>44392</c:v>
                </c:pt>
                <c:pt idx="3577">
                  <c:v>44393</c:v>
                </c:pt>
                <c:pt idx="3578">
                  <c:v>44394</c:v>
                </c:pt>
                <c:pt idx="3579">
                  <c:v>44395</c:v>
                </c:pt>
                <c:pt idx="3580">
                  <c:v>44396</c:v>
                </c:pt>
                <c:pt idx="3581">
                  <c:v>44397</c:v>
                </c:pt>
                <c:pt idx="3582">
                  <c:v>44398</c:v>
                </c:pt>
                <c:pt idx="3583">
                  <c:v>44399</c:v>
                </c:pt>
                <c:pt idx="3584">
                  <c:v>44400</c:v>
                </c:pt>
                <c:pt idx="3585">
                  <c:v>44401</c:v>
                </c:pt>
                <c:pt idx="3586">
                  <c:v>44402</c:v>
                </c:pt>
                <c:pt idx="3587">
                  <c:v>44403</c:v>
                </c:pt>
                <c:pt idx="3588">
                  <c:v>44404</c:v>
                </c:pt>
                <c:pt idx="3589">
                  <c:v>44405</c:v>
                </c:pt>
                <c:pt idx="3590">
                  <c:v>44406</c:v>
                </c:pt>
                <c:pt idx="3591">
                  <c:v>44407</c:v>
                </c:pt>
                <c:pt idx="3592">
                  <c:v>44408</c:v>
                </c:pt>
                <c:pt idx="3593">
                  <c:v>44409</c:v>
                </c:pt>
                <c:pt idx="3594">
                  <c:v>44410</c:v>
                </c:pt>
                <c:pt idx="3595">
                  <c:v>44411</c:v>
                </c:pt>
                <c:pt idx="3596">
                  <c:v>44412</c:v>
                </c:pt>
                <c:pt idx="3597">
                  <c:v>44413</c:v>
                </c:pt>
                <c:pt idx="3598">
                  <c:v>44414</c:v>
                </c:pt>
                <c:pt idx="3599">
                  <c:v>44415</c:v>
                </c:pt>
                <c:pt idx="3600">
                  <c:v>44416</c:v>
                </c:pt>
                <c:pt idx="3601">
                  <c:v>44417</c:v>
                </c:pt>
                <c:pt idx="3602">
                  <c:v>44418</c:v>
                </c:pt>
                <c:pt idx="3603">
                  <c:v>44419</c:v>
                </c:pt>
                <c:pt idx="3604">
                  <c:v>44420</c:v>
                </c:pt>
                <c:pt idx="3605">
                  <c:v>44421</c:v>
                </c:pt>
                <c:pt idx="3606">
                  <c:v>44422</c:v>
                </c:pt>
                <c:pt idx="3607">
                  <c:v>44423</c:v>
                </c:pt>
                <c:pt idx="3608">
                  <c:v>44424</c:v>
                </c:pt>
                <c:pt idx="3609">
                  <c:v>44425</c:v>
                </c:pt>
                <c:pt idx="3610">
                  <c:v>44426</c:v>
                </c:pt>
                <c:pt idx="3611">
                  <c:v>44427</c:v>
                </c:pt>
                <c:pt idx="3612">
                  <c:v>44428</c:v>
                </c:pt>
                <c:pt idx="3613">
                  <c:v>44429</c:v>
                </c:pt>
                <c:pt idx="3614">
                  <c:v>44430</c:v>
                </c:pt>
                <c:pt idx="3615">
                  <c:v>44431</c:v>
                </c:pt>
                <c:pt idx="3616">
                  <c:v>44432</c:v>
                </c:pt>
                <c:pt idx="3617">
                  <c:v>44433</c:v>
                </c:pt>
                <c:pt idx="3618">
                  <c:v>44434</c:v>
                </c:pt>
                <c:pt idx="3619">
                  <c:v>44435</c:v>
                </c:pt>
                <c:pt idx="3620">
                  <c:v>44436</c:v>
                </c:pt>
                <c:pt idx="3621">
                  <c:v>44437</c:v>
                </c:pt>
                <c:pt idx="3622">
                  <c:v>44438</c:v>
                </c:pt>
                <c:pt idx="3623">
                  <c:v>44439</c:v>
                </c:pt>
                <c:pt idx="3624">
                  <c:v>44440</c:v>
                </c:pt>
                <c:pt idx="3625">
                  <c:v>44441</c:v>
                </c:pt>
                <c:pt idx="3626">
                  <c:v>44442</c:v>
                </c:pt>
                <c:pt idx="3627">
                  <c:v>44443</c:v>
                </c:pt>
                <c:pt idx="3628">
                  <c:v>44444</c:v>
                </c:pt>
                <c:pt idx="3629">
                  <c:v>44445</c:v>
                </c:pt>
                <c:pt idx="3630">
                  <c:v>44446</c:v>
                </c:pt>
                <c:pt idx="3631">
                  <c:v>44447</c:v>
                </c:pt>
                <c:pt idx="3632">
                  <c:v>44448</c:v>
                </c:pt>
                <c:pt idx="3633">
                  <c:v>44449</c:v>
                </c:pt>
                <c:pt idx="3634">
                  <c:v>44450</c:v>
                </c:pt>
                <c:pt idx="3635">
                  <c:v>44451</c:v>
                </c:pt>
                <c:pt idx="3636">
                  <c:v>44452</c:v>
                </c:pt>
                <c:pt idx="3637">
                  <c:v>44453</c:v>
                </c:pt>
                <c:pt idx="3638">
                  <c:v>44454</c:v>
                </c:pt>
                <c:pt idx="3639">
                  <c:v>44455</c:v>
                </c:pt>
                <c:pt idx="3640">
                  <c:v>44456</c:v>
                </c:pt>
                <c:pt idx="3641">
                  <c:v>44457</c:v>
                </c:pt>
                <c:pt idx="3642">
                  <c:v>44458</c:v>
                </c:pt>
                <c:pt idx="3643">
                  <c:v>44459</c:v>
                </c:pt>
                <c:pt idx="3644">
                  <c:v>44460</c:v>
                </c:pt>
                <c:pt idx="3645">
                  <c:v>44461</c:v>
                </c:pt>
                <c:pt idx="3646">
                  <c:v>44462</c:v>
                </c:pt>
                <c:pt idx="3647">
                  <c:v>44463</c:v>
                </c:pt>
                <c:pt idx="3648">
                  <c:v>44464</c:v>
                </c:pt>
                <c:pt idx="3649">
                  <c:v>44465</c:v>
                </c:pt>
                <c:pt idx="3650">
                  <c:v>44466</c:v>
                </c:pt>
                <c:pt idx="3651">
                  <c:v>44467</c:v>
                </c:pt>
                <c:pt idx="3652">
                  <c:v>44468</c:v>
                </c:pt>
                <c:pt idx="3653">
                  <c:v>44469</c:v>
                </c:pt>
              </c:numCache>
            </c:numRef>
          </c:cat>
          <c:val>
            <c:numRef>
              <c:f>'Ark1'!$C$2:$C$3655</c:f>
              <c:numCache>
                <c:formatCode>0.00</c:formatCode>
                <c:ptCount val="3654"/>
                <c:pt idx="0">
                  <c:v>24.707999999999998</c:v>
                </c:pt>
                <c:pt idx="1">
                  <c:v>24.707999999999998</c:v>
                </c:pt>
                <c:pt idx="2">
                  <c:v>24.707999999999998</c:v>
                </c:pt>
                <c:pt idx="3">
                  <c:v>23.748142299299413</c:v>
                </c:pt>
                <c:pt idx="4">
                  <c:v>22.981249339611804</c:v>
                </c:pt>
                <c:pt idx="5">
                  <c:v>23.917695876880664</c:v>
                </c:pt>
                <c:pt idx="6">
                  <c:v>24.512197542207414</c:v>
                </c:pt>
                <c:pt idx="7">
                  <c:v>24.50581267945331</c:v>
                </c:pt>
                <c:pt idx="8">
                  <c:v>24.50581267945331</c:v>
                </c:pt>
                <c:pt idx="9">
                  <c:v>24.50581267945331</c:v>
                </c:pt>
                <c:pt idx="10">
                  <c:v>25.568537613414492</c:v>
                </c:pt>
                <c:pt idx="11">
                  <c:v>25.230139887446875</c:v>
                </c:pt>
                <c:pt idx="12">
                  <c:v>25.970074537728259</c:v>
                </c:pt>
                <c:pt idx="13">
                  <c:v>25.566409325829785</c:v>
                </c:pt>
                <c:pt idx="14">
                  <c:v>26.273710233145739</c:v>
                </c:pt>
                <c:pt idx="15">
                  <c:v>26.273710233145739</c:v>
                </c:pt>
                <c:pt idx="16">
                  <c:v>26.273710233145739</c:v>
                </c:pt>
                <c:pt idx="17">
                  <c:v>26.072941770988852</c:v>
                </c:pt>
                <c:pt idx="18">
                  <c:v>26.229016193866997</c:v>
                </c:pt>
                <c:pt idx="19">
                  <c:v>26.169424141495341</c:v>
                </c:pt>
                <c:pt idx="20">
                  <c:v>25.986391409210974</c:v>
                </c:pt>
                <c:pt idx="21">
                  <c:v>26.80791041690593</c:v>
                </c:pt>
                <c:pt idx="22">
                  <c:v>26.80791041690593</c:v>
                </c:pt>
                <c:pt idx="23">
                  <c:v>26.80791041690593</c:v>
                </c:pt>
                <c:pt idx="24">
                  <c:v>27.336435167106917</c:v>
                </c:pt>
                <c:pt idx="25">
                  <c:v>27.098776386815199</c:v>
                </c:pt>
                <c:pt idx="26">
                  <c:v>27.198096474101291</c:v>
                </c:pt>
                <c:pt idx="27">
                  <c:v>28.016777765016649</c:v>
                </c:pt>
                <c:pt idx="28">
                  <c:v>27.685474330998041</c:v>
                </c:pt>
                <c:pt idx="29">
                  <c:v>27.685474330998041</c:v>
                </c:pt>
                <c:pt idx="30">
                  <c:v>27.685474330998041</c:v>
                </c:pt>
                <c:pt idx="31">
                  <c:v>27.257688526472947</c:v>
                </c:pt>
                <c:pt idx="32">
                  <c:v>26.102737797174679</c:v>
                </c:pt>
                <c:pt idx="33">
                  <c:v>26.600047662800037</c:v>
                </c:pt>
                <c:pt idx="34">
                  <c:v>27.298125990582285</c:v>
                </c:pt>
                <c:pt idx="35">
                  <c:v>27.159787297576656</c:v>
                </c:pt>
                <c:pt idx="36">
                  <c:v>27.159787297576656</c:v>
                </c:pt>
                <c:pt idx="37">
                  <c:v>27.159787297576656</c:v>
                </c:pt>
                <c:pt idx="38">
                  <c:v>27.473355001722744</c:v>
                </c:pt>
                <c:pt idx="39">
                  <c:v>27.540750775238305</c:v>
                </c:pt>
                <c:pt idx="40">
                  <c:v>27.03492775927414</c:v>
                </c:pt>
                <c:pt idx="41">
                  <c:v>26.80365384173653</c:v>
                </c:pt>
                <c:pt idx="42">
                  <c:v>27.501022740323872</c:v>
                </c:pt>
                <c:pt idx="43">
                  <c:v>27.501022740323872</c:v>
                </c:pt>
                <c:pt idx="44">
                  <c:v>27.501022740323872</c:v>
                </c:pt>
                <c:pt idx="45">
                  <c:v>27.376872631216258</c:v>
                </c:pt>
                <c:pt idx="46">
                  <c:v>27.28890341104858</c:v>
                </c:pt>
                <c:pt idx="47">
                  <c:v>27.408087515791888</c:v>
                </c:pt>
                <c:pt idx="48">
                  <c:v>26.838415872286664</c:v>
                </c:pt>
                <c:pt idx="49">
                  <c:v>26.663896290341103</c:v>
                </c:pt>
                <c:pt idx="50">
                  <c:v>26.663896290341103</c:v>
                </c:pt>
                <c:pt idx="51">
                  <c:v>26.663896290341103</c:v>
                </c:pt>
                <c:pt idx="52">
                  <c:v>25.843086711841043</c:v>
                </c:pt>
                <c:pt idx="53">
                  <c:v>25.552930171126675</c:v>
                </c:pt>
                <c:pt idx="54">
                  <c:v>24.739924313770526</c:v>
                </c:pt>
                <c:pt idx="55">
                  <c:v>24.66969082347536</c:v>
                </c:pt>
                <c:pt idx="56">
                  <c:v>25.024405420925685</c:v>
                </c:pt>
                <c:pt idx="57">
                  <c:v>25.024405420925685</c:v>
                </c:pt>
                <c:pt idx="58">
                  <c:v>25.024405420925685</c:v>
                </c:pt>
                <c:pt idx="59">
                  <c:v>25.992776271965077</c:v>
                </c:pt>
                <c:pt idx="60">
                  <c:v>25.958723670609849</c:v>
                </c:pt>
                <c:pt idx="61">
                  <c:v>27.018610887791429</c:v>
                </c:pt>
                <c:pt idx="62">
                  <c:v>26.85827988974388</c:v>
                </c:pt>
                <c:pt idx="63">
                  <c:v>26.885947628345008</c:v>
                </c:pt>
                <c:pt idx="64">
                  <c:v>26.885947628345008</c:v>
                </c:pt>
                <c:pt idx="65">
                  <c:v>26.885947628345008</c:v>
                </c:pt>
                <c:pt idx="66">
                  <c:v>27.120768691857126</c:v>
                </c:pt>
                <c:pt idx="67">
                  <c:v>27.297416561387383</c:v>
                </c:pt>
                <c:pt idx="68">
                  <c:v>26.952633972665669</c:v>
                </c:pt>
                <c:pt idx="69">
                  <c:v>26.501437004708851</c:v>
                </c:pt>
                <c:pt idx="70">
                  <c:v>26.829193292752954</c:v>
                </c:pt>
                <c:pt idx="71">
                  <c:v>26.829193292752954</c:v>
                </c:pt>
                <c:pt idx="72">
                  <c:v>26.829193292752954</c:v>
                </c:pt>
                <c:pt idx="73">
                  <c:v>26.090677500861371</c:v>
                </c:pt>
                <c:pt idx="74">
                  <c:v>26.252427357298721</c:v>
                </c:pt>
                <c:pt idx="75">
                  <c:v>25.435874353968067</c:v>
                </c:pt>
                <c:pt idx="76">
                  <c:v>25.894875043068787</c:v>
                </c:pt>
                <c:pt idx="77">
                  <c:v>26.034632594464217</c:v>
                </c:pt>
                <c:pt idx="78">
                  <c:v>26.034632594464217</c:v>
                </c:pt>
                <c:pt idx="79">
                  <c:v>26.034632594464217</c:v>
                </c:pt>
                <c:pt idx="80">
                  <c:v>25.804068106121505</c:v>
                </c:pt>
                <c:pt idx="81">
                  <c:v>26.583730791317322</c:v>
                </c:pt>
                <c:pt idx="82">
                  <c:v>26.432622372803479</c:v>
                </c:pt>
                <c:pt idx="83">
                  <c:v>26.888075915929697</c:v>
                </c:pt>
                <c:pt idx="84">
                  <c:v>27.175394739864462</c:v>
                </c:pt>
                <c:pt idx="85">
                  <c:v>27.175394739864462</c:v>
                </c:pt>
                <c:pt idx="86">
                  <c:v>27.175394739864462</c:v>
                </c:pt>
                <c:pt idx="87">
                  <c:v>27.175394739864462</c:v>
                </c:pt>
                <c:pt idx="88">
                  <c:v>27.224345354312611</c:v>
                </c:pt>
                <c:pt idx="89">
                  <c:v>26.949796255886056</c:v>
                </c:pt>
                <c:pt idx="90">
                  <c:v>27.189583323762477</c:v>
                </c:pt>
                <c:pt idx="91">
                  <c:v>27.309476857700684</c:v>
                </c:pt>
                <c:pt idx="92">
                  <c:v>27.309476857700684</c:v>
                </c:pt>
                <c:pt idx="93">
                  <c:v>27.309476857700684</c:v>
                </c:pt>
                <c:pt idx="94">
                  <c:v>27.63084828299068</c:v>
                </c:pt>
                <c:pt idx="95">
                  <c:v>27.957895141839881</c:v>
                </c:pt>
                <c:pt idx="96">
                  <c:v>27.747904100149288</c:v>
                </c:pt>
                <c:pt idx="97">
                  <c:v>27.898303089468229</c:v>
                </c:pt>
                <c:pt idx="98">
                  <c:v>27.845805329045579</c:v>
                </c:pt>
                <c:pt idx="99">
                  <c:v>27.845805329045579</c:v>
                </c:pt>
                <c:pt idx="100">
                  <c:v>27.845805329045579</c:v>
                </c:pt>
                <c:pt idx="101">
                  <c:v>27.603180544389556</c:v>
                </c:pt>
                <c:pt idx="102">
                  <c:v>28.109712989548623</c:v>
                </c:pt>
                <c:pt idx="103">
                  <c:v>27.979178017686898</c:v>
                </c:pt>
                <c:pt idx="104">
                  <c:v>28.284942000689082</c:v>
                </c:pt>
                <c:pt idx="105">
                  <c:v>27.983434592856305</c:v>
                </c:pt>
                <c:pt idx="106">
                  <c:v>27.983434592856305</c:v>
                </c:pt>
                <c:pt idx="107">
                  <c:v>27.983434592856305</c:v>
                </c:pt>
                <c:pt idx="108">
                  <c:v>28.062890662685181</c:v>
                </c:pt>
                <c:pt idx="109">
                  <c:v>28.200519926495907</c:v>
                </c:pt>
                <c:pt idx="110">
                  <c:v>28.13099586539564</c:v>
                </c:pt>
                <c:pt idx="111">
                  <c:v>28.282813713104382</c:v>
                </c:pt>
                <c:pt idx="112">
                  <c:v>28.106875272769017</c:v>
                </c:pt>
                <c:pt idx="113">
                  <c:v>28.106875272769017</c:v>
                </c:pt>
                <c:pt idx="114">
                  <c:v>28.106875272769017</c:v>
                </c:pt>
                <c:pt idx="115">
                  <c:v>28.249470540944049</c:v>
                </c:pt>
                <c:pt idx="116">
                  <c:v>27.970664867348091</c:v>
                </c:pt>
                <c:pt idx="117">
                  <c:v>28.034513494889154</c:v>
                </c:pt>
                <c:pt idx="118">
                  <c:v>28.356594349374049</c:v>
                </c:pt>
                <c:pt idx="119">
                  <c:v>28.342405765476038</c:v>
                </c:pt>
                <c:pt idx="120">
                  <c:v>28.342405765476038</c:v>
                </c:pt>
                <c:pt idx="121">
                  <c:v>28.342405765476038</c:v>
                </c:pt>
                <c:pt idx="122">
                  <c:v>27.999042035144125</c:v>
                </c:pt>
                <c:pt idx="123">
                  <c:v>28.189878488572397</c:v>
                </c:pt>
                <c:pt idx="124">
                  <c:v>28.703505225680473</c:v>
                </c:pt>
                <c:pt idx="125">
                  <c:v>28.739686114620408</c:v>
                </c:pt>
                <c:pt idx="126">
                  <c:v>29.080212128172722</c:v>
                </c:pt>
                <c:pt idx="127">
                  <c:v>29.080212128172722</c:v>
                </c:pt>
                <c:pt idx="128">
                  <c:v>29.080212128172722</c:v>
                </c:pt>
                <c:pt idx="129">
                  <c:v>29.140513609739276</c:v>
                </c:pt>
                <c:pt idx="130">
                  <c:v>28.98089204088663</c:v>
                </c:pt>
                <c:pt idx="131">
                  <c:v>29.185207649018018</c:v>
                </c:pt>
                <c:pt idx="132">
                  <c:v>29.517220512231525</c:v>
                </c:pt>
                <c:pt idx="133">
                  <c:v>29.584616285747089</c:v>
                </c:pt>
                <c:pt idx="134">
                  <c:v>29.584616285747089</c:v>
                </c:pt>
                <c:pt idx="135">
                  <c:v>29.584616285747089</c:v>
                </c:pt>
                <c:pt idx="136">
                  <c:v>29.498775353164113</c:v>
                </c:pt>
                <c:pt idx="137">
                  <c:v>29.429251292063846</c:v>
                </c:pt>
                <c:pt idx="138">
                  <c:v>29.784675318709073</c:v>
                </c:pt>
                <c:pt idx="139">
                  <c:v>29.85703709658894</c:v>
                </c:pt>
                <c:pt idx="140">
                  <c:v>29.830078787182714</c:v>
                </c:pt>
                <c:pt idx="141">
                  <c:v>29.830078787182714</c:v>
                </c:pt>
                <c:pt idx="142">
                  <c:v>29.830078787182714</c:v>
                </c:pt>
                <c:pt idx="143">
                  <c:v>30.223811990352576</c:v>
                </c:pt>
                <c:pt idx="144">
                  <c:v>30.157835075226817</c:v>
                </c:pt>
                <c:pt idx="145">
                  <c:v>30.211751694039265</c:v>
                </c:pt>
                <c:pt idx="146">
                  <c:v>30.023752957390588</c:v>
                </c:pt>
                <c:pt idx="147">
                  <c:v>30.338030090731579</c:v>
                </c:pt>
                <c:pt idx="148">
                  <c:v>30.338030090731579</c:v>
                </c:pt>
                <c:pt idx="149">
                  <c:v>30.338030090731579</c:v>
                </c:pt>
                <c:pt idx="150">
                  <c:v>30.425289881704362</c:v>
                </c:pt>
                <c:pt idx="151">
                  <c:v>30.543764557252775</c:v>
                </c:pt>
                <c:pt idx="152">
                  <c:v>30.49481394280463</c:v>
                </c:pt>
                <c:pt idx="153">
                  <c:v>30.389818421959333</c:v>
                </c:pt>
                <c:pt idx="154">
                  <c:v>30.441606753187081</c:v>
                </c:pt>
                <c:pt idx="155">
                  <c:v>30.441606753187081</c:v>
                </c:pt>
                <c:pt idx="156">
                  <c:v>30.441606753187081</c:v>
                </c:pt>
                <c:pt idx="157">
                  <c:v>30.034394395314102</c:v>
                </c:pt>
                <c:pt idx="158">
                  <c:v>29.141223038934179</c:v>
                </c:pt>
                <c:pt idx="159">
                  <c:v>29.503741357528412</c:v>
                </c:pt>
                <c:pt idx="160">
                  <c:v>30.048582979212114</c:v>
                </c:pt>
                <c:pt idx="161">
                  <c:v>30.207495118869861</c:v>
                </c:pt>
                <c:pt idx="162">
                  <c:v>30.207495118869861</c:v>
                </c:pt>
                <c:pt idx="163">
                  <c:v>30.207495118869861</c:v>
                </c:pt>
                <c:pt idx="164">
                  <c:v>29.968417480188343</c:v>
                </c:pt>
                <c:pt idx="165">
                  <c:v>30.32384150683357</c:v>
                </c:pt>
                <c:pt idx="166">
                  <c:v>30.672171241529796</c:v>
                </c:pt>
                <c:pt idx="167">
                  <c:v>30.638828069369463</c:v>
                </c:pt>
                <c:pt idx="168">
                  <c:v>30.821151372458932</c:v>
                </c:pt>
                <c:pt idx="169">
                  <c:v>30.821151372458932</c:v>
                </c:pt>
                <c:pt idx="170">
                  <c:v>30.821151372458932</c:v>
                </c:pt>
                <c:pt idx="171">
                  <c:v>30.948139198346151</c:v>
                </c:pt>
                <c:pt idx="172">
                  <c:v>30.44018789479728</c:v>
                </c:pt>
                <c:pt idx="173">
                  <c:v>30.360731824968408</c:v>
                </c:pt>
                <c:pt idx="174">
                  <c:v>30.060643275525432</c:v>
                </c:pt>
                <c:pt idx="175">
                  <c:v>30.389108992764434</c:v>
                </c:pt>
                <c:pt idx="176">
                  <c:v>30.389108992764434</c:v>
                </c:pt>
                <c:pt idx="177">
                  <c:v>30.389108992764434</c:v>
                </c:pt>
                <c:pt idx="178">
                  <c:v>30.824698518433436</c:v>
                </c:pt>
                <c:pt idx="179">
                  <c:v>30.469274491788209</c:v>
                </c:pt>
                <c:pt idx="180">
                  <c:v>30.255026874928213</c:v>
                </c:pt>
                <c:pt idx="181">
                  <c:v>29.824403353623513</c:v>
                </c:pt>
                <c:pt idx="182">
                  <c:v>30.264958883656824</c:v>
                </c:pt>
                <c:pt idx="183">
                  <c:v>30.264958883656824</c:v>
                </c:pt>
                <c:pt idx="184">
                  <c:v>30.264958883656824</c:v>
                </c:pt>
                <c:pt idx="185">
                  <c:v>30.571432295853906</c:v>
                </c:pt>
                <c:pt idx="186">
                  <c:v>30.286951188698747</c:v>
                </c:pt>
                <c:pt idx="187">
                  <c:v>29.932946020443321</c:v>
                </c:pt>
                <c:pt idx="188">
                  <c:v>29.932946020443321</c:v>
                </c:pt>
                <c:pt idx="189">
                  <c:v>29.932946020443321</c:v>
                </c:pt>
                <c:pt idx="190">
                  <c:v>29.932946020443321</c:v>
                </c:pt>
                <c:pt idx="191">
                  <c:v>29.932946020443321</c:v>
                </c:pt>
                <c:pt idx="192">
                  <c:v>29.932946020443321</c:v>
                </c:pt>
                <c:pt idx="193">
                  <c:v>28.996499483174457</c:v>
                </c:pt>
                <c:pt idx="194">
                  <c:v>29.180241644653726</c:v>
                </c:pt>
                <c:pt idx="195">
                  <c:v>29.64278947972895</c:v>
                </c:pt>
                <c:pt idx="196">
                  <c:v>29.350504651429883</c:v>
                </c:pt>
                <c:pt idx="197">
                  <c:v>29.350504651429883</c:v>
                </c:pt>
                <c:pt idx="198">
                  <c:v>29.350504651429883</c:v>
                </c:pt>
                <c:pt idx="199">
                  <c:v>29.326384058803256</c:v>
                </c:pt>
                <c:pt idx="200">
                  <c:v>30.000341793958878</c:v>
                </c:pt>
                <c:pt idx="201">
                  <c:v>29.905987711037092</c:v>
                </c:pt>
                <c:pt idx="202">
                  <c:v>29.831497645572522</c:v>
                </c:pt>
                <c:pt idx="203">
                  <c:v>29.885414264384973</c:v>
                </c:pt>
                <c:pt idx="204">
                  <c:v>29.885414264384973</c:v>
                </c:pt>
                <c:pt idx="205">
                  <c:v>29.885414264384973</c:v>
                </c:pt>
                <c:pt idx="206">
                  <c:v>29.033389801309287</c:v>
                </c:pt>
                <c:pt idx="207">
                  <c:v>29.51438279545193</c:v>
                </c:pt>
                <c:pt idx="208">
                  <c:v>29.835044791547027</c:v>
                </c:pt>
                <c:pt idx="209">
                  <c:v>29.969126909383249</c:v>
                </c:pt>
                <c:pt idx="210">
                  <c:v>29.77403388078557</c:v>
                </c:pt>
                <c:pt idx="211">
                  <c:v>29.77403388078557</c:v>
                </c:pt>
                <c:pt idx="212">
                  <c:v>29.77403388078557</c:v>
                </c:pt>
                <c:pt idx="213">
                  <c:v>29.881867118410469</c:v>
                </c:pt>
                <c:pt idx="214">
                  <c:v>29.881867118410469</c:v>
                </c:pt>
                <c:pt idx="215">
                  <c:v>29.762683013667161</c:v>
                </c:pt>
                <c:pt idx="216">
                  <c:v>29.942168599977027</c:v>
                </c:pt>
                <c:pt idx="217">
                  <c:v>29.267501435626507</c:v>
                </c:pt>
                <c:pt idx="218">
                  <c:v>29.267501435626507</c:v>
                </c:pt>
                <c:pt idx="219">
                  <c:v>29.267501435626507</c:v>
                </c:pt>
                <c:pt idx="220">
                  <c:v>29.345538647065577</c:v>
                </c:pt>
                <c:pt idx="221">
                  <c:v>28.499189617549099</c:v>
                </c:pt>
                <c:pt idx="222">
                  <c:v>28.533242218904327</c:v>
                </c:pt>
                <c:pt idx="223">
                  <c:v>28.98798633283565</c:v>
                </c:pt>
                <c:pt idx="224">
                  <c:v>29.00997863787757</c:v>
                </c:pt>
                <c:pt idx="225">
                  <c:v>29.00997863787757</c:v>
                </c:pt>
                <c:pt idx="226">
                  <c:v>29.00997863787757</c:v>
                </c:pt>
                <c:pt idx="227">
                  <c:v>28.441016423567241</c:v>
                </c:pt>
                <c:pt idx="228">
                  <c:v>28.578645687377968</c:v>
                </c:pt>
                <c:pt idx="229">
                  <c:v>28.441725852762147</c:v>
                </c:pt>
                <c:pt idx="230">
                  <c:v>28.441725852762147</c:v>
                </c:pt>
                <c:pt idx="231">
                  <c:v>27.567709084644537</c:v>
                </c:pt>
                <c:pt idx="232">
                  <c:v>27.567709084644537</c:v>
                </c:pt>
                <c:pt idx="233">
                  <c:v>27.567709084644537</c:v>
                </c:pt>
                <c:pt idx="234">
                  <c:v>28.018196623406453</c:v>
                </c:pt>
                <c:pt idx="235">
                  <c:v>28.527566785345122</c:v>
                </c:pt>
                <c:pt idx="236">
                  <c:v>27.579059951762947</c:v>
                </c:pt>
                <c:pt idx="237">
                  <c:v>27.796145285402545</c:v>
                </c:pt>
                <c:pt idx="238">
                  <c:v>27.821684736418966</c:v>
                </c:pt>
                <c:pt idx="239">
                  <c:v>27.821684736418966</c:v>
                </c:pt>
                <c:pt idx="240">
                  <c:v>27.821684736418966</c:v>
                </c:pt>
                <c:pt idx="241">
                  <c:v>27.821684736418966</c:v>
                </c:pt>
                <c:pt idx="242">
                  <c:v>28.041607786838167</c:v>
                </c:pt>
                <c:pt idx="243">
                  <c:v>27.568418513839433</c:v>
                </c:pt>
                <c:pt idx="244">
                  <c:v>27.267620535201555</c:v>
                </c:pt>
                <c:pt idx="245">
                  <c:v>26.792302974618117</c:v>
                </c:pt>
                <c:pt idx="246">
                  <c:v>26.792302974618117</c:v>
                </c:pt>
                <c:pt idx="247">
                  <c:v>26.792302974618117</c:v>
                </c:pt>
                <c:pt idx="248">
                  <c:v>26.376577466406331</c:v>
                </c:pt>
                <c:pt idx="249">
                  <c:v>26.635519122545066</c:v>
                </c:pt>
                <c:pt idx="250">
                  <c:v>27.38254806477546</c:v>
                </c:pt>
                <c:pt idx="251">
                  <c:v>27.630848282990691</c:v>
                </c:pt>
                <c:pt idx="252">
                  <c:v>27.485415298036056</c:v>
                </c:pt>
                <c:pt idx="253">
                  <c:v>27.485415298036056</c:v>
                </c:pt>
                <c:pt idx="254">
                  <c:v>27.485415298036056</c:v>
                </c:pt>
                <c:pt idx="255">
                  <c:v>27.351333180199834</c:v>
                </c:pt>
                <c:pt idx="256">
                  <c:v>27.47832100608705</c:v>
                </c:pt>
                <c:pt idx="257">
                  <c:v>27.046988055587455</c:v>
                </c:pt>
                <c:pt idx="258">
                  <c:v>27.106580107959108</c:v>
                </c:pt>
                <c:pt idx="259">
                  <c:v>27.789050993453536</c:v>
                </c:pt>
                <c:pt idx="260">
                  <c:v>27.789050993453536</c:v>
                </c:pt>
                <c:pt idx="261">
                  <c:v>27.789050993453536</c:v>
                </c:pt>
                <c:pt idx="262">
                  <c:v>27.686183760192943</c:v>
                </c:pt>
                <c:pt idx="263">
                  <c:v>28.094814976455719</c:v>
                </c:pt>
                <c:pt idx="264">
                  <c:v>28.345243482255654</c:v>
                </c:pt>
                <c:pt idx="265">
                  <c:v>27.8521901917997</c:v>
                </c:pt>
                <c:pt idx="266">
                  <c:v>27.351333180199838</c:v>
                </c:pt>
                <c:pt idx="267">
                  <c:v>27.351333180199838</c:v>
                </c:pt>
                <c:pt idx="268">
                  <c:v>27.351333180199838</c:v>
                </c:pt>
                <c:pt idx="269">
                  <c:v>27.093810382450901</c:v>
                </c:pt>
                <c:pt idx="270">
                  <c:v>27.154821293212354</c:v>
                </c:pt>
                <c:pt idx="271">
                  <c:v>27.845095899850694</c:v>
                </c:pt>
                <c:pt idx="272">
                  <c:v>27.941578270357184</c:v>
                </c:pt>
                <c:pt idx="273">
                  <c:v>28.880153095210748</c:v>
                </c:pt>
                <c:pt idx="274">
                  <c:v>28.880153095210748</c:v>
                </c:pt>
                <c:pt idx="275">
                  <c:v>28.880153095210748</c:v>
                </c:pt>
                <c:pt idx="276">
                  <c:v>29.146189043298495</c:v>
                </c:pt>
                <c:pt idx="277">
                  <c:v>29.735724704260935</c:v>
                </c:pt>
                <c:pt idx="278">
                  <c:v>29.45762845985988</c:v>
                </c:pt>
                <c:pt idx="279">
                  <c:v>29.231320546686572</c:v>
                </c:pt>
                <c:pt idx="280">
                  <c:v>28.824817618008495</c:v>
                </c:pt>
                <c:pt idx="281">
                  <c:v>28.824817618008495</c:v>
                </c:pt>
                <c:pt idx="282">
                  <c:v>28.824817618008495</c:v>
                </c:pt>
                <c:pt idx="283">
                  <c:v>28.676546916274262</c:v>
                </c:pt>
                <c:pt idx="284">
                  <c:v>29.34128207189617</c:v>
                </c:pt>
                <c:pt idx="285">
                  <c:v>29.224935683932465</c:v>
                </c:pt>
                <c:pt idx="286">
                  <c:v>28.898598254278166</c:v>
                </c:pt>
                <c:pt idx="287">
                  <c:v>29.518639370621337</c:v>
                </c:pt>
                <c:pt idx="288">
                  <c:v>29.518639370621337</c:v>
                </c:pt>
                <c:pt idx="289">
                  <c:v>29.518639370621337</c:v>
                </c:pt>
                <c:pt idx="290">
                  <c:v>29.569008843459283</c:v>
                </c:pt>
                <c:pt idx="291">
                  <c:v>29.729339841506832</c:v>
                </c:pt>
                <c:pt idx="292">
                  <c:v>30.10817503158378</c:v>
                </c:pt>
                <c:pt idx="293">
                  <c:v>30.301849201791661</c:v>
                </c:pt>
                <c:pt idx="294">
                  <c:v>30.075541288618354</c:v>
                </c:pt>
                <c:pt idx="295">
                  <c:v>30.075541288618354</c:v>
                </c:pt>
                <c:pt idx="296">
                  <c:v>30.075541288618354</c:v>
                </c:pt>
                <c:pt idx="297">
                  <c:v>29.285237165499026</c:v>
                </c:pt>
                <c:pt idx="298">
                  <c:v>29.189464224187436</c:v>
                </c:pt>
                <c:pt idx="299">
                  <c:v>29.28949374066843</c:v>
                </c:pt>
                <c:pt idx="300">
                  <c:v>29.790350752268296</c:v>
                </c:pt>
                <c:pt idx="301">
                  <c:v>30.164929367175837</c:v>
                </c:pt>
                <c:pt idx="302">
                  <c:v>30.164929367175837</c:v>
                </c:pt>
                <c:pt idx="303">
                  <c:v>30.164929367175837</c:v>
                </c:pt>
                <c:pt idx="304">
                  <c:v>30.203947972895371</c:v>
                </c:pt>
                <c:pt idx="305">
                  <c:v>30.030847249339612</c:v>
                </c:pt>
                <c:pt idx="306">
                  <c:v>30.002470081543585</c:v>
                </c:pt>
                <c:pt idx="307">
                  <c:v>29.627182037441138</c:v>
                </c:pt>
                <c:pt idx="308">
                  <c:v>30.303977489376365</c:v>
                </c:pt>
                <c:pt idx="309">
                  <c:v>30.303977489376365</c:v>
                </c:pt>
                <c:pt idx="310">
                  <c:v>30.303977489376365</c:v>
                </c:pt>
                <c:pt idx="311">
                  <c:v>30.430965315263578</c:v>
                </c:pt>
                <c:pt idx="312">
                  <c:v>30.694872975766621</c:v>
                </c:pt>
                <c:pt idx="313">
                  <c:v>30.352928103824507</c:v>
                </c:pt>
                <c:pt idx="314">
                  <c:v>30.682103250258407</c:v>
                </c:pt>
                <c:pt idx="315">
                  <c:v>30.527447685770067</c:v>
                </c:pt>
                <c:pt idx="316">
                  <c:v>30.527447685770067</c:v>
                </c:pt>
                <c:pt idx="317">
                  <c:v>30.527447685770067</c:v>
                </c:pt>
                <c:pt idx="318">
                  <c:v>30.49481394280464</c:v>
                </c:pt>
                <c:pt idx="319">
                  <c:v>30.755883886528078</c:v>
                </c:pt>
                <c:pt idx="320">
                  <c:v>30.902026300677612</c:v>
                </c:pt>
                <c:pt idx="321">
                  <c:v>30.953105202710461</c:v>
                </c:pt>
                <c:pt idx="322">
                  <c:v>31.190054553807279</c:v>
                </c:pt>
                <c:pt idx="323">
                  <c:v>31.190054553807279</c:v>
                </c:pt>
                <c:pt idx="324">
                  <c:v>31.190054553807279</c:v>
                </c:pt>
                <c:pt idx="325">
                  <c:v>30.912667738601126</c:v>
                </c:pt>
                <c:pt idx="326">
                  <c:v>31.230492017916621</c:v>
                </c:pt>
                <c:pt idx="327">
                  <c:v>30.967293786608476</c:v>
                </c:pt>
                <c:pt idx="328">
                  <c:v>30.643084644538877</c:v>
                </c:pt>
                <c:pt idx="329">
                  <c:v>30.612579189158151</c:v>
                </c:pt>
                <c:pt idx="330">
                  <c:v>30.612579189158151</c:v>
                </c:pt>
                <c:pt idx="331">
                  <c:v>30.612579189158151</c:v>
                </c:pt>
                <c:pt idx="332">
                  <c:v>30.839596531526361</c:v>
                </c:pt>
                <c:pt idx="333">
                  <c:v>30.717574710003451</c:v>
                </c:pt>
                <c:pt idx="334">
                  <c:v>30.908411163431726</c:v>
                </c:pt>
                <c:pt idx="335">
                  <c:v>30.543764557252789</c:v>
                </c:pt>
                <c:pt idx="336">
                  <c:v>30.875777420466296</c:v>
                </c:pt>
                <c:pt idx="337">
                  <c:v>30.875777420466296</c:v>
                </c:pt>
                <c:pt idx="338">
                  <c:v>30.875777420466296</c:v>
                </c:pt>
                <c:pt idx="339">
                  <c:v>31.17444711151947</c:v>
                </c:pt>
                <c:pt idx="340">
                  <c:v>30.755883886528078</c:v>
                </c:pt>
                <c:pt idx="341">
                  <c:v>30.890675433559203</c:v>
                </c:pt>
                <c:pt idx="342">
                  <c:v>31.429132192488797</c:v>
                </c:pt>
                <c:pt idx="343">
                  <c:v>31.559667164350518</c:v>
                </c:pt>
                <c:pt idx="344">
                  <c:v>31.559667164350518</c:v>
                </c:pt>
                <c:pt idx="345">
                  <c:v>31.559667164350518</c:v>
                </c:pt>
                <c:pt idx="346">
                  <c:v>31.620678075111975</c:v>
                </c:pt>
                <c:pt idx="347">
                  <c:v>31.653311818077405</c:v>
                </c:pt>
                <c:pt idx="348">
                  <c:v>31.732767887906281</c:v>
                </c:pt>
                <c:pt idx="349">
                  <c:v>31.77888078557482</c:v>
                </c:pt>
                <c:pt idx="350">
                  <c:v>32.711780176869183</c:v>
                </c:pt>
                <c:pt idx="351">
                  <c:v>32.711780176869183</c:v>
                </c:pt>
                <c:pt idx="352">
                  <c:v>32.711780176869183</c:v>
                </c:pt>
                <c:pt idx="353">
                  <c:v>32.616716664752495</c:v>
                </c:pt>
                <c:pt idx="354">
                  <c:v>32.335782703571837</c:v>
                </c:pt>
                <c:pt idx="355">
                  <c:v>32.16339140921098</c:v>
                </c:pt>
                <c:pt idx="356">
                  <c:v>31.959785230274495</c:v>
                </c:pt>
                <c:pt idx="357">
                  <c:v>32.398921901918001</c:v>
                </c:pt>
                <c:pt idx="358">
                  <c:v>32.398921901918001</c:v>
                </c:pt>
                <c:pt idx="359">
                  <c:v>32.398921901918001</c:v>
                </c:pt>
                <c:pt idx="360">
                  <c:v>32.142108533363967</c:v>
                </c:pt>
                <c:pt idx="361">
                  <c:v>32.330816699207546</c:v>
                </c:pt>
                <c:pt idx="362">
                  <c:v>31.616421499942586</c:v>
                </c:pt>
                <c:pt idx="363">
                  <c:v>31.734186746296093</c:v>
                </c:pt>
                <c:pt idx="364">
                  <c:v>31.634866659010001</c:v>
                </c:pt>
                <c:pt idx="365">
                  <c:v>31.634866659010001</c:v>
                </c:pt>
                <c:pt idx="366">
                  <c:v>31.634866659010001</c:v>
                </c:pt>
                <c:pt idx="367">
                  <c:v>32.082516480992311</c:v>
                </c:pt>
                <c:pt idx="368">
                  <c:v>32.005188698748135</c:v>
                </c:pt>
                <c:pt idx="369">
                  <c:v>31.88174801883542</c:v>
                </c:pt>
                <c:pt idx="370">
                  <c:v>31.709356724474567</c:v>
                </c:pt>
                <c:pt idx="371">
                  <c:v>32.19673458137131</c:v>
                </c:pt>
                <c:pt idx="372">
                  <c:v>32.19673458137131</c:v>
                </c:pt>
                <c:pt idx="373">
                  <c:v>32.19673458137131</c:v>
                </c:pt>
                <c:pt idx="374">
                  <c:v>31.902321465487539</c:v>
                </c:pt>
                <c:pt idx="375">
                  <c:v>31.934955208452969</c:v>
                </c:pt>
                <c:pt idx="376">
                  <c:v>31.747665900999198</c:v>
                </c:pt>
                <c:pt idx="377">
                  <c:v>31.93211749167337</c:v>
                </c:pt>
                <c:pt idx="378">
                  <c:v>31.788103365108533</c:v>
                </c:pt>
                <c:pt idx="379">
                  <c:v>31.788103365108533</c:v>
                </c:pt>
                <c:pt idx="380">
                  <c:v>31.788103365108533</c:v>
                </c:pt>
                <c:pt idx="381">
                  <c:v>31.800163661421845</c:v>
                </c:pt>
                <c:pt idx="382">
                  <c:v>32.089610772941313</c:v>
                </c:pt>
                <c:pt idx="383">
                  <c:v>32.054139313196281</c:v>
                </c:pt>
                <c:pt idx="384">
                  <c:v>31.981777535316418</c:v>
                </c:pt>
                <c:pt idx="385">
                  <c:v>31.822155966463772</c:v>
                </c:pt>
                <c:pt idx="386">
                  <c:v>31.822155966463772</c:v>
                </c:pt>
                <c:pt idx="387">
                  <c:v>31.822155966463772</c:v>
                </c:pt>
                <c:pt idx="388">
                  <c:v>31.674594693924437</c:v>
                </c:pt>
                <c:pt idx="389">
                  <c:v>30.819023084874246</c:v>
                </c:pt>
                <c:pt idx="390">
                  <c:v>31.241133455840131</c:v>
                </c:pt>
                <c:pt idx="391">
                  <c:v>31.571727460663833</c:v>
                </c:pt>
                <c:pt idx="392">
                  <c:v>31.334778109567015</c:v>
                </c:pt>
                <c:pt idx="393">
                  <c:v>31.334778109567015</c:v>
                </c:pt>
                <c:pt idx="394">
                  <c:v>31.334778109567015</c:v>
                </c:pt>
                <c:pt idx="395">
                  <c:v>31.368830710922243</c:v>
                </c:pt>
                <c:pt idx="396">
                  <c:v>31.453252785115421</c:v>
                </c:pt>
                <c:pt idx="397">
                  <c:v>31.369540140117142</c:v>
                </c:pt>
                <c:pt idx="398">
                  <c:v>31.625644079476277</c:v>
                </c:pt>
                <c:pt idx="399">
                  <c:v>31.473826231767532</c:v>
                </c:pt>
                <c:pt idx="400">
                  <c:v>31.473826231767532</c:v>
                </c:pt>
                <c:pt idx="401">
                  <c:v>31.473826231767532</c:v>
                </c:pt>
                <c:pt idx="402">
                  <c:v>31.301434937406675</c:v>
                </c:pt>
                <c:pt idx="403">
                  <c:v>31.451833926725609</c:v>
                </c:pt>
                <c:pt idx="404">
                  <c:v>31.223397725967597</c:v>
                </c:pt>
                <c:pt idx="405">
                  <c:v>31.06235729872515</c:v>
                </c:pt>
                <c:pt idx="406">
                  <c:v>30.976516366142171</c:v>
                </c:pt>
                <c:pt idx="407">
                  <c:v>30.976516366142171</c:v>
                </c:pt>
                <c:pt idx="408">
                  <c:v>30.976516366142171</c:v>
                </c:pt>
                <c:pt idx="409">
                  <c:v>30.910539451016412</c:v>
                </c:pt>
                <c:pt idx="410">
                  <c:v>30.670042953945092</c:v>
                </c:pt>
                <c:pt idx="411">
                  <c:v>30.760849890892381</c:v>
                </c:pt>
                <c:pt idx="412">
                  <c:v>30.579236016997811</c:v>
                </c:pt>
                <c:pt idx="413">
                  <c:v>30.486300792465826</c:v>
                </c:pt>
                <c:pt idx="414">
                  <c:v>30.486300792465826</c:v>
                </c:pt>
                <c:pt idx="415">
                  <c:v>30.486300792465826</c:v>
                </c:pt>
                <c:pt idx="416">
                  <c:v>31.156001952452041</c:v>
                </c:pt>
                <c:pt idx="417">
                  <c:v>31.199277133340981</c:v>
                </c:pt>
                <c:pt idx="418">
                  <c:v>31.16309624440105</c:v>
                </c:pt>
                <c:pt idx="419">
                  <c:v>31.517101412656476</c:v>
                </c:pt>
                <c:pt idx="420">
                  <c:v>31.500075111978859</c:v>
                </c:pt>
                <c:pt idx="421">
                  <c:v>31.500075111978859</c:v>
                </c:pt>
                <c:pt idx="422">
                  <c:v>31.500075111978859</c:v>
                </c:pt>
                <c:pt idx="423">
                  <c:v>31.246808889399325</c:v>
                </c:pt>
                <c:pt idx="424">
                  <c:v>31.300725508211777</c:v>
                </c:pt>
                <c:pt idx="425">
                  <c:v>30.796321350637413</c:v>
                </c:pt>
                <c:pt idx="426">
                  <c:v>31.319880096474094</c:v>
                </c:pt>
                <c:pt idx="427">
                  <c:v>31.362445848168129</c:v>
                </c:pt>
                <c:pt idx="428">
                  <c:v>31.362445848168129</c:v>
                </c:pt>
                <c:pt idx="429">
                  <c:v>31.362445848168129</c:v>
                </c:pt>
                <c:pt idx="430">
                  <c:v>31.366702423337532</c:v>
                </c:pt>
                <c:pt idx="431">
                  <c:v>31.013406684277008</c:v>
                </c:pt>
                <c:pt idx="432">
                  <c:v>30.978644653726874</c:v>
                </c:pt>
                <c:pt idx="433">
                  <c:v>31.326974388423096</c:v>
                </c:pt>
                <c:pt idx="434">
                  <c:v>31.289374641093364</c:v>
                </c:pt>
                <c:pt idx="435">
                  <c:v>31.289374641093364</c:v>
                </c:pt>
                <c:pt idx="436">
                  <c:v>31.289374641093364</c:v>
                </c:pt>
                <c:pt idx="437">
                  <c:v>31.299306649821975</c:v>
                </c:pt>
                <c:pt idx="438">
                  <c:v>31.568180314689329</c:v>
                </c:pt>
                <c:pt idx="439">
                  <c:v>31.734896175490981</c:v>
                </c:pt>
                <c:pt idx="440">
                  <c:v>31.618549787527275</c:v>
                </c:pt>
                <c:pt idx="441">
                  <c:v>31.580950040197543</c:v>
                </c:pt>
                <c:pt idx="442">
                  <c:v>31.580950040197543</c:v>
                </c:pt>
                <c:pt idx="443">
                  <c:v>31.580950040197543</c:v>
                </c:pt>
                <c:pt idx="444">
                  <c:v>31.4255850465143</c:v>
                </c:pt>
                <c:pt idx="445">
                  <c:v>31.621387504306878</c:v>
                </c:pt>
                <c:pt idx="446">
                  <c:v>31.907287469851838</c:v>
                </c:pt>
                <c:pt idx="447">
                  <c:v>31.685945561042836</c:v>
                </c:pt>
                <c:pt idx="448">
                  <c:v>31.835635121166874</c:v>
                </c:pt>
                <c:pt idx="449">
                  <c:v>31.835635121166874</c:v>
                </c:pt>
                <c:pt idx="450">
                  <c:v>31.835635121166874</c:v>
                </c:pt>
                <c:pt idx="451">
                  <c:v>31.835635121166874</c:v>
                </c:pt>
                <c:pt idx="452">
                  <c:v>31.835635121166874</c:v>
                </c:pt>
                <c:pt idx="453">
                  <c:v>31.835635121166874</c:v>
                </c:pt>
                <c:pt idx="454">
                  <c:v>31.750503617778794</c:v>
                </c:pt>
                <c:pt idx="455">
                  <c:v>31.505041116343165</c:v>
                </c:pt>
                <c:pt idx="456">
                  <c:v>31.505041116343165</c:v>
                </c:pt>
                <c:pt idx="457">
                  <c:v>31.505041116343165</c:v>
                </c:pt>
                <c:pt idx="458">
                  <c:v>31.505041116343165</c:v>
                </c:pt>
                <c:pt idx="459">
                  <c:v>31.505041116343165</c:v>
                </c:pt>
                <c:pt idx="460">
                  <c:v>32.243556908234744</c:v>
                </c:pt>
                <c:pt idx="461">
                  <c:v>32.297473527047195</c:v>
                </c:pt>
                <c:pt idx="462">
                  <c:v>32.41878591937521</c:v>
                </c:pt>
                <c:pt idx="463">
                  <c:v>32.41878591937521</c:v>
                </c:pt>
                <c:pt idx="464">
                  <c:v>32.41878591937521</c:v>
                </c:pt>
                <c:pt idx="465">
                  <c:v>32.21588916963362</c:v>
                </c:pt>
                <c:pt idx="466">
                  <c:v>32.352809004249444</c:v>
                </c:pt>
                <c:pt idx="467">
                  <c:v>32.508173997932687</c:v>
                </c:pt>
                <c:pt idx="468">
                  <c:v>32.55144917882162</c:v>
                </c:pt>
                <c:pt idx="469">
                  <c:v>32.503207993568381</c:v>
                </c:pt>
                <c:pt idx="470">
                  <c:v>32.503207993568381</c:v>
                </c:pt>
                <c:pt idx="471">
                  <c:v>32.503207993568381</c:v>
                </c:pt>
                <c:pt idx="472">
                  <c:v>32.630195819455594</c:v>
                </c:pt>
                <c:pt idx="473">
                  <c:v>32.574150913058446</c:v>
                </c:pt>
                <c:pt idx="474">
                  <c:v>32.72880647754679</c:v>
                </c:pt>
                <c:pt idx="475">
                  <c:v>33.066494774319501</c:v>
                </c:pt>
                <c:pt idx="476">
                  <c:v>33.170780865969896</c:v>
                </c:pt>
                <c:pt idx="477">
                  <c:v>33.170780865969896</c:v>
                </c:pt>
                <c:pt idx="478">
                  <c:v>33.170780865969896</c:v>
                </c:pt>
                <c:pt idx="479">
                  <c:v>33.199158033765926</c:v>
                </c:pt>
                <c:pt idx="480">
                  <c:v>33.006193292752947</c:v>
                </c:pt>
                <c:pt idx="481">
                  <c:v>33.258040656942676</c:v>
                </c:pt>
                <c:pt idx="482">
                  <c:v>33.297059262662209</c:v>
                </c:pt>
                <c:pt idx="483">
                  <c:v>33.431141380498431</c:v>
                </c:pt>
                <c:pt idx="484">
                  <c:v>33.431141380498431</c:v>
                </c:pt>
                <c:pt idx="485">
                  <c:v>33.431141380498431</c:v>
                </c:pt>
                <c:pt idx="486">
                  <c:v>33.157301711266776</c:v>
                </c:pt>
                <c:pt idx="487">
                  <c:v>33.216184334443525</c:v>
                </c:pt>
                <c:pt idx="488">
                  <c:v>33.173618582749491</c:v>
                </c:pt>
                <c:pt idx="489">
                  <c:v>33.044502469277575</c:v>
                </c:pt>
                <c:pt idx="490">
                  <c:v>33.39212277477889</c:v>
                </c:pt>
                <c:pt idx="491">
                  <c:v>33.39212277477889</c:v>
                </c:pt>
                <c:pt idx="492">
                  <c:v>33.39212277477889</c:v>
                </c:pt>
                <c:pt idx="493">
                  <c:v>33.245270931434455</c:v>
                </c:pt>
                <c:pt idx="494">
                  <c:v>33.13034340186055</c:v>
                </c:pt>
                <c:pt idx="495">
                  <c:v>32.915386355805659</c:v>
                </c:pt>
                <c:pt idx="496">
                  <c:v>33.289255541518301</c:v>
                </c:pt>
                <c:pt idx="497">
                  <c:v>33.504922016768099</c:v>
                </c:pt>
                <c:pt idx="498">
                  <c:v>33.504922016768099</c:v>
                </c:pt>
                <c:pt idx="499">
                  <c:v>33.504922016768099</c:v>
                </c:pt>
                <c:pt idx="500">
                  <c:v>33.209799471689429</c:v>
                </c:pt>
                <c:pt idx="501">
                  <c:v>33.463775123463861</c:v>
                </c:pt>
                <c:pt idx="502">
                  <c:v>33.527623751004917</c:v>
                </c:pt>
                <c:pt idx="503">
                  <c:v>33.333949580797039</c:v>
                </c:pt>
                <c:pt idx="504">
                  <c:v>33.421209371769827</c:v>
                </c:pt>
                <c:pt idx="505">
                  <c:v>33.421209371769827</c:v>
                </c:pt>
                <c:pt idx="506">
                  <c:v>33.421209371769827</c:v>
                </c:pt>
                <c:pt idx="507">
                  <c:v>33.400635925117705</c:v>
                </c:pt>
                <c:pt idx="508">
                  <c:v>33.692211324221873</c:v>
                </c:pt>
                <c:pt idx="509">
                  <c:v>33.802172849431479</c:v>
                </c:pt>
                <c:pt idx="510">
                  <c:v>33.327564718042936</c:v>
                </c:pt>
                <c:pt idx="511">
                  <c:v>33.421209371769827</c:v>
                </c:pt>
                <c:pt idx="512">
                  <c:v>33.421209371769827</c:v>
                </c:pt>
                <c:pt idx="513">
                  <c:v>33.421209371769827</c:v>
                </c:pt>
                <c:pt idx="514">
                  <c:v>33.67873216951876</c:v>
                </c:pt>
                <c:pt idx="515">
                  <c:v>33.473707132192466</c:v>
                </c:pt>
                <c:pt idx="516">
                  <c:v>33.524076605030416</c:v>
                </c:pt>
                <c:pt idx="517">
                  <c:v>33.560966923165253</c:v>
                </c:pt>
                <c:pt idx="518">
                  <c:v>33.475125990582278</c:v>
                </c:pt>
                <c:pt idx="519">
                  <c:v>33.475125990582278</c:v>
                </c:pt>
                <c:pt idx="520">
                  <c:v>33.475125990582278</c:v>
                </c:pt>
                <c:pt idx="521">
                  <c:v>33.470159986217972</c:v>
                </c:pt>
                <c:pt idx="522">
                  <c:v>33.984496152520947</c:v>
                </c:pt>
                <c:pt idx="523">
                  <c:v>33.846157459515318</c:v>
                </c:pt>
                <c:pt idx="524">
                  <c:v>33.760316526932343</c:v>
                </c:pt>
                <c:pt idx="525">
                  <c:v>33.977401860571945</c:v>
                </c:pt>
                <c:pt idx="526">
                  <c:v>33.977401860571945</c:v>
                </c:pt>
                <c:pt idx="527">
                  <c:v>33.977401860571945</c:v>
                </c:pt>
                <c:pt idx="528">
                  <c:v>34.007907315952679</c:v>
                </c:pt>
                <c:pt idx="529">
                  <c:v>34.117868841162277</c:v>
                </c:pt>
                <c:pt idx="530">
                  <c:v>33.946896405191218</c:v>
                </c:pt>
                <c:pt idx="531">
                  <c:v>34.200162627770752</c:v>
                </c:pt>
                <c:pt idx="532">
                  <c:v>34.084525669001948</c:v>
                </c:pt>
                <c:pt idx="533">
                  <c:v>34.084525669001948</c:v>
                </c:pt>
                <c:pt idx="534">
                  <c:v>34.084525669001948</c:v>
                </c:pt>
                <c:pt idx="535">
                  <c:v>33.988752727690361</c:v>
                </c:pt>
                <c:pt idx="536">
                  <c:v>33.874534627311355</c:v>
                </c:pt>
                <c:pt idx="537">
                  <c:v>33.76031652693235</c:v>
                </c:pt>
                <c:pt idx="538">
                  <c:v>33.636166417824732</c:v>
                </c:pt>
                <c:pt idx="539">
                  <c:v>33.670219019179967</c:v>
                </c:pt>
                <c:pt idx="540">
                  <c:v>33.670219019179967</c:v>
                </c:pt>
                <c:pt idx="541">
                  <c:v>33.670219019179967</c:v>
                </c:pt>
                <c:pt idx="542">
                  <c:v>33.438235672447455</c:v>
                </c:pt>
                <c:pt idx="543">
                  <c:v>33.506340875157917</c:v>
                </c:pt>
                <c:pt idx="544">
                  <c:v>33.429013092913742</c:v>
                </c:pt>
                <c:pt idx="545">
                  <c:v>33.429013092913742</c:v>
                </c:pt>
                <c:pt idx="546">
                  <c:v>33.429013092913742</c:v>
                </c:pt>
                <c:pt idx="547">
                  <c:v>33.429013092913742</c:v>
                </c:pt>
                <c:pt idx="548">
                  <c:v>33.429013092913742</c:v>
                </c:pt>
                <c:pt idx="549">
                  <c:v>33.429013092913742</c:v>
                </c:pt>
                <c:pt idx="550">
                  <c:v>33.699305616170896</c:v>
                </c:pt>
                <c:pt idx="551">
                  <c:v>33.797916274262093</c:v>
                </c:pt>
                <c:pt idx="552">
                  <c:v>33.420499942574942</c:v>
                </c:pt>
                <c:pt idx="553">
                  <c:v>32.853666015849321</c:v>
                </c:pt>
                <c:pt idx="554">
                  <c:v>32.853666015849321</c:v>
                </c:pt>
                <c:pt idx="555">
                  <c:v>32.853666015849321</c:v>
                </c:pt>
                <c:pt idx="556">
                  <c:v>33.086358791776732</c:v>
                </c:pt>
                <c:pt idx="557">
                  <c:v>33.207671184104747</c:v>
                </c:pt>
                <c:pt idx="558">
                  <c:v>33.521948317445734</c:v>
                </c:pt>
                <c:pt idx="559">
                  <c:v>33.594310095325604</c:v>
                </c:pt>
                <c:pt idx="560">
                  <c:v>33.360907890203286</c:v>
                </c:pt>
                <c:pt idx="561">
                  <c:v>33.360907890203286</c:v>
                </c:pt>
                <c:pt idx="562">
                  <c:v>33.360907890203286</c:v>
                </c:pt>
                <c:pt idx="563">
                  <c:v>32.85792259101872</c:v>
                </c:pt>
                <c:pt idx="564">
                  <c:v>32.8366397151717</c:v>
                </c:pt>
                <c:pt idx="565">
                  <c:v>32.437231078442629</c:v>
                </c:pt>
                <c:pt idx="566">
                  <c:v>32.685531296657857</c:v>
                </c:pt>
                <c:pt idx="567">
                  <c:v>33.0586910531756</c:v>
                </c:pt>
                <c:pt idx="568">
                  <c:v>33.0586910531756</c:v>
                </c:pt>
                <c:pt idx="569">
                  <c:v>33.0586910531756</c:v>
                </c:pt>
                <c:pt idx="570">
                  <c:v>32.98916699207534</c:v>
                </c:pt>
                <c:pt idx="571">
                  <c:v>33.440363960032158</c:v>
                </c:pt>
                <c:pt idx="572">
                  <c:v>33.659577581256457</c:v>
                </c:pt>
                <c:pt idx="573">
                  <c:v>34.076012518663141</c:v>
                </c:pt>
                <c:pt idx="574">
                  <c:v>34.100842540484663</c:v>
                </c:pt>
                <c:pt idx="575">
                  <c:v>34.100842540484663</c:v>
                </c:pt>
                <c:pt idx="576">
                  <c:v>34.100842540484663</c:v>
                </c:pt>
                <c:pt idx="577">
                  <c:v>33.905749511886981</c:v>
                </c:pt>
                <c:pt idx="578">
                  <c:v>34.061823934765123</c:v>
                </c:pt>
                <c:pt idx="579">
                  <c:v>34.061823934765123</c:v>
                </c:pt>
                <c:pt idx="580">
                  <c:v>33.804301137016189</c:v>
                </c:pt>
                <c:pt idx="581">
                  <c:v>34.315799586539562</c:v>
                </c:pt>
                <c:pt idx="582">
                  <c:v>34.315799586539562</c:v>
                </c:pt>
                <c:pt idx="583">
                  <c:v>34.315799586539562</c:v>
                </c:pt>
                <c:pt idx="584">
                  <c:v>34.415119673825657</c:v>
                </c:pt>
                <c:pt idx="585">
                  <c:v>34.476130584587118</c:v>
                </c:pt>
                <c:pt idx="586">
                  <c:v>34.608084414838636</c:v>
                </c:pt>
                <c:pt idx="587">
                  <c:v>34.608084414838636</c:v>
                </c:pt>
                <c:pt idx="588">
                  <c:v>34.631495578270361</c:v>
                </c:pt>
                <c:pt idx="589">
                  <c:v>34.631495578270361</c:v>
                </c:pt>
                <c:pt idx="590">
                  <c:v>34.631495578270361</c:v>
                </c:pt>
                <c:pt idx="591">
                  <c:v>34.723721373607447</c:v>
                </c:pt>
                <c:pt idx="592">
                  <c:v>34.681865051108311</c:v>
                </c:pt>
                <c:pt idx="593">
                  <c:v>34.655616170896984</c:v>
                </c:pt>
                <c:pt idx="594">
                  <c:v>34.710242218904334</c:v>
                </c:pt>
                <c:pt idx="595">
                  <c:v>34.710242218904334</c:v>
                </c:pt>
                <c:pt idx="596">
                  <c:v>34.710242218904334</c:v>
                </c:pt>
                <c:pt idx="597">
                  <c:v>34.710242218904334</c:v>
                </c:pt>
                <c:pt idx="598">
                  <c:v>34.710242218904334</c:v>
                </c:pt>
                <c:pt idx="599">
                  <c:v>35.07134167910877</c:v>
                </c:pt>
                <c:pt idx="600">
                  <c:v>35.077726541862873</c:v>
                </c:pt>
                <c:pt idx="601">
                  <c:v>34.486772022510628</c:v>
                </c:pt>
                <c:pt idx="602">
                  <c:v>34.559843229585397</c:v>
                </c:pt>
                <c:pt idx="603">
                  <c:v>34.559843229585397</c:v>
                </c:pt>
                <c:pt idx="604">
                  <c:v>34.559843229585397</c:v>
                </c:pt>
                <c:pt idx="605">
                  <c:v>34.851418628689565</c:v>
                </c:pt>
                <c:pt idx="606">
                  <c:v>35.204004938555194</c:v>
                </c:pt>
                <c:pt idx="607">
                  <c:v>34.886180659239699</c:v>
                </c:pt>
                <c:pt idx="608">
                  <c:v>34.901788101527515</c:v>
                </c:pt>
                <c:pt idx="609">
                  <c:v>34.883342942460096</c:v>
                </c:pt>
                <c:pt idx="610">
                  <c:v>34.883342942460096</c:v>
                </c:pt>
                <c:pt idx="611">
                  <c:v>34.883342942460096</c:v>
                </c:pt>
                <c:pt idx="612">
                  <c:v>34.65632560009189</c:v>
                </c:pt>
                <c:pt idx="613">
                  <c:v>34.518696336281167</c:v>
                </c:pt>
                <c:pt idx="614">
                  <c:v>34.257626392557725</c:v>
                </c:pt>
                <c:pt idx="615">
                  <c:v>34.031318479384417</c:v>
                </c:pt>
                <c:pt idx="616">
                  <c:v>34.107936832433687</c:v>
                </c:pt>
                <c:pt idx="617">
                  <c:v>34.107936832433687</c:v>
                </c:pt>
                <c:pt idx="618">
                  <c:v>34.107936832433687</c:v>
                </c:pt>
                <c:pt idx="619">
                  <c:v>33.93554553807283</c:v>
                </c:pt>
                <c:pt idx="620">
                  <c:v>33.343881589525679</c:v>
                </c:pt>
                <c:pt idx="621">
                  <c:v>33.629072125875737</c:v>
                </c:pt>
                <c:pt idx="622">
                  <c:v>33.546068910072364</c:v>
                </c:pt>
                <c:pt idx="623">
                  <c:v>33.629072125875737</c:v>
                </c:pt>
                <c:pt idx="624">
                  <c:v>33.629072125875737</c:v>
                </c:pt>
                <c:pt idx="625">
                  <c:v>33.629072125875737</c:v>
                </c:pt>
                <c:pt idx="626">
                  <c:v>33.915681520615607</c:v>
                </c:pt>
                <c:pt idx="627">
                  <c:v>34.138442287814406</c:v>
                </c:pt>
                <c:pt idx="628">
                  <c:v>33.856089468243951</c:v>
                </c:pt>
                <c:pt idx="629">
                  <c:v>33.438945101642368</c:v>
                </c:pt>
                <c:pt idx="630">
                  <c:v>33.430431951303561</c:v>
                </c:pt>
                <c:pt idx="631">
                  <c:v>33.430431951303561</c:v>
                </c:pt>
                <c:pt idx="632">
                  <c:v>33.430431951303561</c:v>
                </c:pt>
                <c:pt idx="633">
                  <c:v>32.490438268060188</c:v>
                </c:pt>
                <c:pt idx="634">
                  <c:v>33.055143907201106</c:v>
                </c:pt>
                <c:pt idx="635">
                  <c:v>33.397798208338124</c:v>
                </c:pt>
                <c:pt idx="636">
                  <c:v>33.387866199609519</c:v>
                </c:pt>
                <c:pt idx="637">
                  <c:v>33.257331227747798</c:v>
                </c:pt>
                <c:pt idx="638">
                  <c:v>33.257331227747798</c:v>
                </c:pt>
                <c:pt idx="639">
                  <c:v>33.257331227747798</c:v>
                </c:pt>
                <c:pt idx="640">
                  <c:v>33.619140117147126</c:v>
                </c:pt>
                <c:pt idx="641">
                  <c:v>33.829840588032624</c:v>
                </c:pt>
                <c:pt idx="642">
                  <c:v>33.40914907545654</c:v>
                </c:pt>
                <c:pt idx="643">
                  <c:v>33.949734121970842</c:v>
                </c:pt>
                <c:pt idx="644">
                  <c:v>33.986624440105672</c:v>
                </c:pt>
                <c:pt idx="645">
                  <c:v>33.986624440105672</c:v>
                </c:pt>
                <c:pt idx="646">
                  <c:v>33.986624440105672</c:v>
                </c:pt>
                <c:pt idx="647">
                  <c:v>34.207256919719775</c:v>
                </c:pt>
                <c:pt idx="648">
                  <c:v>34.215770070058582</c:v>
                </c:pt>
                <c:pt idx="649">
                  <c:v>34.455557137935003</c:v>
                </c:pt>
                <c:pt idx="650">
                  <c:v>35.00110818881361</c:v>
                </c:pt>
                <c:pt idx="651">
                  <c:v>34.896822097163209</c:v>
                </c:pt>
                <c:pt idx="652">
                  <c:v>34.896822097163209</c:v>
                </c:pt>
                <c:pt idx="653">
                  <c:v>34.896822097163209</c:v>
                </c:pt>
                <c:pt idx="654">
                  <c:v>35.064247387159767</c:v>
                </c:pt>
                <c:pt idx="655">
                  <c:v>35.014587343516723</c:v>
                </c:pt>
                <c:pt idx="656">
                  <c:v>35.121711151946727</c:v>
                </c:pt>
                <c:pt idx="657">
                  <c:v>34.886180659239713</c:v>
                </c:pt>
                <c:pt idx="658">
                  <c:v>35.200457792580707</c:v>
                </c:pt>
                <c:pt idx="659">
                  <c:v>35.200457792580707</c:v>
                </c:pt>
                <c:pt idx="660">
                  <c:v>35.200457792580707</c:v>
                </c:pt>
                <c:pt idx="661">
                  <c:v>35.208261513724615</c:v>
                </c:pt>
                <c:pt idx="662">
                  <c:v>35.301906167451499</c:v>
                </c:pt>
                <c:pt idx="663">
                  <c:v>35.331702193637327</c:v>
                </c:pt>
                <c:pt idx="664">
                  <c:v>35.199038934190909</c:v>
                </c:pt>
                <c:pt idx="665">
                  <c:v>35.061409670380179</c:v>
                </c:pt>
                <c:pt idx="666">
                  <c:v>35.061409670380179</c:v>
                </c:pt>
                <c:pt idx="667">
                  <c:v>35.061409670380179</c:v>
                </c:pt>
                <c:pt idx="668">
                  <c:v>35.063537957964876</c:v>
                </c:pt>
                <c:pt idx="669">
                  <c:v>35.007493051567721</c:v>
                </c:pt>
                <c:pt idx="670">
                  <c:v>35.142284598598849</c:v>
                </c:pt>
                <c:pt idx="671">
                  <c:v>35.313257034569908</c:v>
                </c:pt>
                <c:pt idx="672">
                  <c:v>35.27920443321468</c:v>
                </c:pt>
                <c:pt idx="673">
                  <c:v>35.27920443321468</c:v>
                </c:pt>
                <c:pt idx="674">
                  <c:v>35.27920443321468</c:v>
                </c:pt>
                <c:pt idx="675">
                  <c:v>35.271400712070772</c:v>
                </c:pt>
                <c:pt idx="676">
                  <c:v>35.047930515677066</c:v>
                </c:pt>
                <c:pt idx="677">
                  <c:v>35.086239692201701</c:v>
                </c:pt>
                <c:pt idx="678">
                  <c:v>35.433150568508118</c:v>
                </c:pt>
                <c:pt idx="679">
                  <c:v>35.507640633972692</c:v>
                </c:pt>
                <c:pt idx="680">
                  <c:v>35.507640633972692</c:v>
                </c:pt>
                <c:pt idx="681">
                  <c:v>35.507640633972692</c:v>
                </c:pt>
                <c:pt idx="682">
                  <c:v>35.476425749397066</c:v>
                </c:pt>
                <c:pt idx="683">
                  <c:v>35.496999196049188</c:v>
                </c:pt>
                <c:pt idx="684">
                  <c:v>35.721888250832698</c:v>
                </c:pt>
                <c:pt idx="685">
                  <c:v>35.457271161134756</c:v>
                </c:pt>
                <c:pt idx="686">
                  <c:v>35.58993442058118</c:v>
                </c:pt>
                <c:pt idx="687">
                  <c:v>35.58993442058118</c:v>
                </c:pt>
                <c:pt idx="688">
                  <c:v>35.58993442058118</c:v>
                </c:pt>
                <c:pt idx="689">
                  <c:v>35.720469392442901</c:v>
                </c:pt>
                <c:pt idx="690">
                  <c:v>35.348019065120056</c:v>
                </c:pt>
                <c:pt idx="691">
                  <c:v>35.347309635925157</c:v>
                </c:pt>
                <c:pt idx="692">
                  <c:v>35.620439875961914</c:v>
                </c:pt>
                <c:pt idx="693">
                  <c:v>35.559428965200453</c:v>
                </c:pt>
                <c:pt idx="694">
                  <c:v>35.559428965200453</c:v>
                </c:pt>
                <c:pt idx="695">
                  <c:v>35.559428965200453</c:v>
                </c:pt>
                <c:pt idx="696">
                  <c:v>35.528214080624828</c:v>
                </c:pt>
                <c:pt idx="697">
                  <c:v>35.243023544274763</c:v>
                </c:pt>
                <c:pt idx="698">
                  <c:v>35.502674629608407</c:v>
                </c:pt>
                <c:pt idx="699">
                  <c:v>35.614055013207803</c:v>
                </c:pt>
                <c:pt idx="700">
                  <c:v>35.243023544274763</c:v>
                </c:pt>
                <c:pt idx="701">
                  <c:v>35.243023544274763</c:v>
                </c:pt>
                <c:pt idx="702">
                  <c:v>35.243023544274763</c:v>
                </c:pt>
                <c:pt idx="703">
                  <c:v>35.682160215918273</c:v>
                </c:pt>
                <c:pt idx="704">
                  <c:v>35.711246812909202</c:v>
                </c:pt>
                <c:pt idx="705">
                  <c:v>35.692801653841784</c:v>
                </c:pt>
                <c:pt idx="706">
                  <c:v>35.687835649477478</c:v>
                </c:pt>
                <c:pt idx="707">
                  <c:v>35.670099919604958</c:v>
                </c:pt>
                <c:pt idx="708">
                  <c:v>35.670099919604958</c:v>
                </c:pt>
                <c:pt idx="709">
                  <c:v>35.670099919604958</c:v>
                </c:pt>
                <c:pt idx="710">
                  <c:v>35.712665671298993</c:v>
                </c:pt>
                <c:pt idx="711">
                  <c:v>35.8261743424831</c:v>
                </c:pt>
                <c:pt idx="712">
                  <c:v>36.043969105317601</c:v>
                </c:pt>
                <c:pt idx="713">
                  <c:v>35.877962673710847</c:v>
                </c:pt>
                <c:pt idx="714">
                  <c:v>35.92407557137939</c:v>
                </c:pt>
                <c:pt idx="715">
                  <c:v>35.92407557137939</c:v>
                </c:pt>
                <c:pt idx="716">
                  <c:v>35.92407557137939</c:v>
                </c:pt>
                <c:pt idx="717">
                  <c:v>35.936135867692698</c:v>
                </c:pt>
                <c:pt idx="718">
                  <c:v>35.894279545193555</c:v>
                </c:pt>
                <c:pt idx="719">
                  <c:v>35.919818996209983</c:v>
                </c:pt>
                <c:pt idx="720">
                  <c:v>36.179470081543627</c:v>
                </c:pt>
                <c:pt idx="721">
                  <c:v>36.273114735270511</c:v>
                </c:pt>
                <c:pt idx="722">
                  <c:v>36.273114735270511</c:v>
                </c:pt>
                <c:pt idx="723">
                  <c:v>36.273114735270511</c:v>
                </c:pt>
                <c:pt idx="724">
                  <c:v>36.109236591248461</c:v>
                </c:pt>
                <c:pt idx="725">
                  <c:v>36.091500861375941</c:v>
                </c:pt>
                <c:pt idx="726">
                  <c:v>36.21210382450905</c:v>
                </c:pt>
                <c:pt idx="727">
                  <c:v>36.178760652348721</c:v>
                </c:pt>
                <c:pt idx="728">
                  <c:v>36.049644538876798</c:v>
                </c:pt>
                <c:pt idx="729">
                  <c:v>36.049644538876798</c:v>
                </c:pt>
                <c:pt idx="730">
                  <c:v>36.049644538876798</c:v>
                </c:pt>
                <c:pt idx="731">
                  <c:v>35.596319283335276</c:v>
                </c:pt>
                <c:pt idx="732">
                  <c:v>35.70769966693468</c:v>
                </c:pt>
                <c:pt idx="733">
                  <c:v>35.802053749856476</c:v>
                </c:pt>
                <c:pt idx="734">
                  <c:v>36.087953715401433</c:v>
                </c:pt>
                <c:pt idx="735">
                  <c:v>36.000693924428653</c:v>
                </c:pt>
                <c:pt idx="736">
                  <c:v>36.000693924428653</c:v>
                </c:pt>
                <c:pt idx="737">
                  <c:v>36.000693924428653</c:v>
                </c:pt>
                <c:pt idx="738">
                  <c:v>35.777223728034947</c:v>
                </c:pt>
                <c:pt idx="739">
                  <c:v>35.348728494314948</c:v>
                </c:pt>
                <c:pt idx="740">
                  <c:v>35.278495004019781</c:v>
                </c:pt>
                <c:pt idx="741">
                  <c:v>35.792121741127858</c:v>
                </c:pt>
                <c:pt idx="742">
                  <c:v>35.829721488457594</c:v>
                </c:pt>
                <c:pt idx="743">
                  <c:v>35.829721488457594</c:v>
                </c:pt>
                <c:pt idx="744">
                  <c:v>35.829721488457594</c:v>
                </c:pt>
                <c:pt idx="745">
                  <c:v>35.968769610658121</c:v>
                </c:pt>
                <c:pt idx="746">
                  <c:v>36.374563110141303</c:v>
                </c:pt>
                <c:pt idx="747">
                  <c:v>36.392298840013822</c:v>
                </c:pt>
                <c:pt idx="748">
                  <c:v>36.471045480647796</c:v>
                </c:pt>
                <c:pt idx="749">
                  <c:v>36.848461812334939</c:v>
                </c:pt>
                <c:pt idx="750">
                  <c:v>36.848461812334939</c:v>
                </c:pt>
                <c:pt idx="751">
                  <c:v>36.848461812334939</c:v>
                </c:pt>
                <c:pt idx="752">
                  <c:v>37.247870449064003</c:v>
                </c:pt>
                <c:pt idx="753">
                  <c:v>37.506812105202748</c:v>
                </c:pt>
                <c:pt idx="754">
                  <c:v>37.43090318134837</c:v>
                </c:pt>
                <c:pt idx="755">
                  <c:v>37.806900654645716</c:v>
                </c:pt>
                <c:pt idx="756">
                  <c:v>38.137494659469425</c:v>
                </c:pt>
                <c:pt idx="757">
                  <c:v>38.137494659469425</c:v>
                </c:pt>
                <c:pt idx="758">
                  <c:v>38.137494659469425</c:v>
                </c:pt>
                <c:pt idx="759">
                  <c:v>37.899835879177701</c:v>
                </c:pt>
                <c:pt idx="760">
                  <c:v>38.141041805443926</c:v>
                </c:pt>
                <c:pt idx="761">
                  <c:v>38.028951992649624</c:v>
                </c:pt>
                <c:pt idx="762">
                  <c:v>37.765044332146587</c:v>
                </c:pt>
                <c:pt idx="763">
                  <c:v>37.95304306879526</c:v>
                </c:pt>
                <c:pt idx="764">
                  <c:v>37.95304306879526</c:v>
                </c:pt>
                <c:pt idx="765">
                  <c:v>37.95304306879526</c:v>
                </c:pt>
                <c:pt idx="766">
                  <c:v>38.077193177902878</c:v>
                </c:pt>
                <c:pt idx="767">
                  <c:v>37.903383025152216</c:v>
                </c:pt>
                <c:pt idx="768">
                  <c:v>38.513492132766785</c:v>
                </c:pt>
                <c:pt idx="769">
                  <c:v>38.275833352475061</c:v>
                </c:pt>
                <c:pt idx="770">
                  <c:v>38.165871827265462</c:v>
                </c:pt>
                <c:pt idx="771">
                  <c:v>38.165871827265462</c:v>
                </c:pt>
                <c:pt idx="772">
                  <c:v>38.165871827265462</c:v>
                </c:pt>
                <c:pt idx="773">
                  <c:v>38.475182956242151</c:v>
                </c:pt>
                <c:pt idx="774">
                  <c:v>38.077193177902885</c:v>
                </c:pt>
                <c:pt idx="775">
                  <c:v>37.967231652693279</c:v>
                </c:pt>
                <c:pt idx="776">
                  <c:v>38.265901343746464</c:v>
                </c:pt>
                <c:pt idx="777">
                  <c:v>38.574503043528253</c:v>
                </c:pt>
                <c:pt idx="778">
                  <c:v>38.574503043528253</c:v>
                </c:pt>
                <c:pt idx="779">
                  <c:v>38.574503043528253</c:v>
                </c:pt>
                <c:pt idx="780">
                  <c:v>38.641898817043817</c:v>
                </c:pt>
                <c:pt idx="781">
                  <c:v>38.529809004249515</c:v>
                </c:pt>
                <c:pt idx="782">
                  <c:v>38.348195130354945</c:v>
                </c:pt>
                <c:pt idx="783">
                  <c:v>38.082868611462096</c:v>
                </c:pt>
                <c:pt idx="784">
                  <c:v>38.22546387963714</c:v>
                </c:pt>
                <c:pt idx="785">
                  <c:v>38.22546387963714</c:v>
                </c:pt>
                <c:pt idx="786">
                  <c:v>38.22546387963714</c:v>
                </c:pt>
                <c:pt idx="787">
                  <c:v>38.210565866544222</c:v>
                </c:pt>
                <c:pt idx="788">
                  <c:v>38.132528655105148</c:v>
                </c:pt>
                <c:pt idx="789">
                  <c:v>38.417719191455205</c:v>
                </c:pt>
                <c:pt idx="790">
                  <c:v>38.565280463994547</c:v>
                </c:pt>
                <c:pt idx="791">
                  <c:v>38.507107270012689</c:v>
                </c:pt>
                <c:pt idx="792">
                  <c:v>38.507107270012689</c:v>
                </c:pt>
                <c:pt idx="793">
                  <c:v>38.507107270012689</c:v>
                </c:pt>
                <c:pt idx="794">
                  <c:v>38.477311243826861</c:v>
                </c:pt>
                <c:pt idx="795">
                  <c:v>38.17225669001958</c:v>
                </c:pt>
                <c:pt idx="796">
                  <c:v>37.882100149305209</c:v>
                </c:pt>
                <c:pt idx="797">
                  <c:v>37.843790972780575</c:v>
                </c:pt>
                <c:pt idx="798">
                  <c:v>37.757950040197592</c:v>
                </c:pt>
                <c:pt idx="799">
                  <c:v>37.757950040197592</c:v>
                </c:pt>
                <c:pt idx="800">
                  <c:v>37.757950040197592</c:v>
                </c:pt>
                <c:pt idx="801">
                  <c:v>37.894869874813416</c:v>
                </c:pt>
                <c:pt idx="802">
                  <c:v>37.861526702653087</c:v>
                </c:pt>
                <c:pt idx="803">
                  <c:v>37.618901917997057</c:v>
                </c:pt>
                <c:pt idx="804">
                  <c:v>37.26773446652124</c:v>
                </c:pt>
                <c:pt idx="805">
                  <c:v>37.435159756517784</c:v>
                </c:pt>
                <c:pt idx="806">
                  <c:v>37.435159756517784</c:v>
                </c:pt>
                <c:pt idx="807">
                  <c:v>37.435159756517784</c:v>
                </c:pt>
                <c:pt idx="808">
                  <c:v>37.644441369013478</c:v>
                </c:pt>
                <c:pt idx="809">
                  <c:v>37.642313081428775</c:v>
                </c:pt>
                <c:pt idx="810">
                  <c:v>37.452186057195398</c:v>
                </c:pt>
                <c:pt idx="811">
                  <c:v>37.708289996554534</c:v>
                </c:pt>
                <c:pt idx="812">
                  <c:v>38.115502354427512</c:v>
                </c:pt>
                <c:pt idx="813">
                  <c:v>38.115502354427512</c:v>
                </c:pt>
                <c:pt idx="814">
                  <c:v>38.115502354427512</c:v>
                </c:pt>
                <c:pt idx="815">
                  <c:v>38.609974503273264</c:v>
                </c:pt>
                <c:pt idx="816">
                  <c:v>38.609974503273264</c:v>
                </c:pt>
                <c:pt idx="817">
                  <c:v>38.609974503273264</c:v>
                </c:pt>
                <c:pt idx="818">
                  <c:v>38.609974503273264</c:v>
                </c:pt>
                <c:pt idx="819">
                  <c:v>38.99732284368902</c:v>
                </c:pt>
                <c:pt idx="820">
                  <c:v>38.99732284368902</c:v>
                </c:pt>
                <c:pt idx="821">
                  <c:v>38.99732284368902</c:v>
                </c:pt>
                <c:pt idx="822">
                  <c:v>38.937730791317364</c:v>
                </c:pt>
                <c:pt idx="823">
                  <c:v>38.937730791317364</c:v>
                </c:pt>
                <c:pt idx="824">
                  <c:v>38.937730791317364</c:v>
                </c:pt>
                <c:pt idx="825">
                  <c:v>38.800810956701532</c:v>
                </c:pt>
                <c:pt idx="826">
                  <c:v>38.861821867462993</c:v>
                </c:pt>
                <c:pt idx="827">
                  <c:v>38.861821867462993</c:v>
                </c:pt>
                <c:pt idx="828">
                  <c:v>38.861821867462993</c:v>
                </c:pt>
                <c:pt idx="829">
                  <c:v>38.776690364074916</c:v>
                </c:pt>
                <c:pt idx="830">
                  <c:v>38.808614677845441</c:v>
                </c:pt>
                <c:pt idx="831">
                  <c:v>39.03421316182385</c:v>
                </c:pt>
                <c:pt idx="832">
                  <c:v>39.276128517284967</c:v>
                </c:pt>
                <c:pt idx="833">
                  <c:v>39.480444125416355</c:v>
                </c:pt>
                <c:pt idx="834">
                  <c:v>39.480444125416355</c:v>
                </c:pt>
                <c:pt idx="835">
                  <c:v>39.480444125416355</c:v>
                </c:pt>
                <c:pt idx="836">
                  <c:v>39.60601309291377</c:v>
                </c:pt>
                <c:pt idx="837">
                  <c:v>39.498889284483766</c:v>
                </c:pt>
                <c:pt idx="838">
                  <c:v>39.937316526932378</c:v>
                </c:pt>
                <c:pt idx="839">
                  <c:v>40.069979786378802</c:v>
                </c:pt>
                <c:pt idx="840">
                  <c:v>39.954342827609999</c:v>
                </c:pt>
                <c:pt idx="841">
                  <c:v>39.954342827609999</c:v>
                </c:pt>
                <c:pt idx="842">
                  <c:v>39.954342827609999</c:v>
                </c:pt>
                <c:pt idx="843">
                  <c:v>39.860698173883108</c:v>
                </c:pt>
                <c:pt idx="844">
                  <c:v>40.094100379005425</c:v>
                </c:pt>
                <c:pt idx="845">
                  <c:v>39.890494200068936</c:v>
                </c:pt>
                <c:pt idx="846">
                  <c:v>39.495342138509272</c:v>
                </c:pt>
                <c:pt idx="847">
                  <c:v>38.883814172504906</c:v>
                </c:pt>
                <c:pt idx="848">
                  <c:v>38.883814172504906</c:v>
                </c:pt>
                <c:pt idx="849">
                  <c:v>38.883814172504906</c:v>
                </c:pt>
                <c:pt idx="850">
                  <c:v>38.617068795222259</c:v>
                </c:pt>
                <c:pt idx="851">
                  <c:v>38.568118180774114</c:v>
                </c:pt>
                <c:pt idx="852">
                  <c:v>38.111955208452997</c:v>
                </c:pt>
                <c:pt idx="853">
                  <c:v>38.303501091076164</c:v>
                </c:pt>
                <c:pt idx="854">
                  <c:v>38.006250258412791</c:v>
                </c:pt>
                <c:pt idx="855">
                  <c:v>38.006250258412791</c:v>
                </c:pt>
                <c:pt idx="856">
                  <c:v>38.006250258412791</c:v>
                </c:pt>
                <c:pt idx="857">
                  <c:v>37.933888480532929</c:v>
                </c:pt>
                <c:pt idx="858">
                  <c:v>37.926794188583919</c:v>
                </c:pt>
                <c:pt idx="859">
                  <c:v>37.787746066383392</c:v>
                </c:pt>
                <c:pt idx="860">
                  <c:v>38.150973814172531</c:v>
                </c:pt>
                <c:pt idx="861">
                  <c:v>38.919285632249945</c:v>
                </c:pt>
                <c:pt idx="862">
                  <c:v>38.919285632249945</c:v>
                </c:pt>
                <c:pt idx="863">
                  <c:v>38.919285632249945</c:v>
                </c:pt>
                <c:pt idx="864">
                  <c:v>38.822803261743459</c:v>
                </c:pt>
                <c:pt idx="865">
                  <c:v>39.048401745721868</c:v>
                </c:pt>
                <c:pt idx="866">
                  <c:v>38.891617893648828</c:v>
                </c:pt>
                <c:pt idx="867">
                  <c:v>38.639770529459092</c:v>
                </c:pt>
                <c:pt idx="868">
                  <c:v>38.825640978523062</c:v>
                </c:pt>
                <c:pt idx="869">
                  <c:v>38.825640978523062</c:v>
                </c:pt>
                <c:pt idx="870">
                  <c:v>38.825640978523062</c:v>
                </c:pt>
                <c:pt idx="871">
                  <c:v>38.938440220512263</c:v>
                </c:pt>
                <c:pt idx="872">
                  <c:v>38.879557597335506</c:v>
                </c:pt>
                <c:pt idx="873">
                  <c:v>38.943406224876568</c:v>
                </c:pt>
                <c:pt idx="874">
                  <c:v>39.115797519237425</c:v>
                </c:pt>
                <c:pt idx="875">
                  <c:v>39.300249109911597</c:v>
                </c:pt>
                <c:pt idx="876">
                  <c:v>39.300249109911597</c:v>
                </c:pt>
                <c:pt idx="877">
                  <c:v>39.300249109911597</c:v>
                </c:pt>
                <c:pt idx="878">
                  <c:v>39.481153554611261</c:v>
                </c:pt>
                <c:pt idx="879">
                  <c:v>39.123601240381333</c:v>
                </c:pt>
                <c:pt idx="880">
                  <c:v>39.183902721947888</c:v>
                </c:pt>
                <c:pt idx="881">
                  <c:v>39.202347881015299</c:v>
                </c:pt>
                <c:pt idx="882">
                  <c:v>39.4243992190192</c:v>
                </c:pt>
                <c:pt idx="883">
                  <c:v>39.4243992190192</c:v>
                </c:pt>
                <c:pt idx="884">
                  <c:v>39.4243992190192</c:v>
                </c:pt>
                <c:pt idx="885">
                  <c:v>39.242075915929732</c:v>
                </c:pt>
                <c:pt idx="886">
                  <c:v>39.628714827150588</c:v>
                </c:pt>
                <c:pt idx="887">
                  <c:v>39.519462731135881</c:v>
                </c:pt>
                <c:pt idx="888">
                  <c:v>39.601047088549464</c:v>
                </c:pt>
                <c:pt idx="889">
                  <c:v>39.495342138509265</c:v>
                </c:pt>
                <c:pt idx="890">
                  <c:v>39.495342138509265</c:v>
                </c:pt>
                <c:pt idx="891">
                  <c:v>39.495342138509265</c:v>
                </c:pt>
                <c:pt idx="892">
                  <c:v>39.18886872631218</c:v>
                </c:pt>
                <c:pt idx="893">
                  <c:v>39.32649799012291</c:v>
                </c:pt>
                <c:pt idx="894">
                  <c:v>38.751150913058481</c:v>
                </c:pt>
                <c:pt idx="895">
                  <c:v>38.552510738486291</c:v>
                </c:pt>
                <c:pt idx="896">
                  <c:v>38.289312507178153</c:v>
                </c:pt>
                <c:pt idx="897">
                  <c:v>38.289312507178153</c:v>
                </c:pt>
                <c:pt idx="898">
                  <c:v>38.289312507178153</c:v>
                </c:pt>
                <c:pt idx="899">
                  <c:v>38.637642241874374</c:v>
                </c:pt>
                <c:pt idx="900">
                  <c:v>38.802939244286229</c:v>
                </c:pt>
                <c:pt idx="901">
                  <c:v>38.785912943608608</c:v>
                </c:pt>
                <c:pt idx="902">
                  <c:v>38.915029057080524</c:v>
                </c:pt>
                <c:pt idx="903">
                  <c:v>39.341396003215813</c:v>
                </c:pt>
                <c:pt idx="904">
                  <c:v>39.341396003215813</c:v>
                </c:pt>
                <c:pt idx="905">
                  <c:v>39.341396003215813</c:v>
                </c:pt>
                <c:pt idx="906">
                  <c:v>39.193834730676485</c:v>
                </c:pt>
                <c:pt idx="907">
                  <c:v>39.514496726771583</c:v>
                </c:pt>
                <c:pt idx="908">
                  <c:v>39.869920753416807</c:v>
                </c:pt>
                <c:pt idx="909">
                  <c:v>39.741514069139789</c:v>
                </c:pt>
                <c:pt idx="910">
                  <c:v>39.774857241300118</c:v>
                </c:pt>
                <c:pt idx="911">
                  <c:v>39.774857241300118</c:v>
                </c:pt>
                <c:pt idx="912">
                  <c:v>39.774857241300118</c:v>
                </c:pt>
                <c:pt idx="913">
                  <c:v>39.866373607442306</c:v>
                </c:pt>
                <c:pt idx="914">
                  <c:v>39.737966923165281</c:v>
                </c:pt>
                <c:pt idx="915">
                  <c:v>39.73867635236018</c:v>
                </c:pt>
                <c:pt idx="916">
                  <c:v>39.659929711726207</c:v>
                </c:pt>
                <c:pt idx="917">
                  <c:v>39.867083036637204</c:v>
                </c:pt>
                <c:pt idx="918">
                  <c:v>39.867083036637204</c:v>
                </c:pt>
                <c:pt idx="919">
                  <c:v>39.867083036637204</c:v>
                </c:pt>
                <c:pt idx="920">
                  <c:v>39.25413621224304</c:v>
                </c:pt>
                <c:pt idx="921">
                  <c:v>38.893746181233503</c:v>
                </c:pt>
                <c:pt idx="922">
                  <c:v>39.317984839784096</c:v>
                </c:pt>
                <c:pt idx="923">
                  <c:v>39.315147123004486</c:v>
                </c:pt>
                <c:pt idx="924">
                  <c:v>38.440420925691981</c:v>
                </c:pt>
                <c:pt idx="925">
                  <c:v>38.440420925691981</c:v>
                </c:pt>
                <c:pt idx="926">
                  <c:v>38.440420925691981</c:v>
                </c:pt>
                <c:pt idx="927">
                  <c:v>38.684464568737802</c:v>
                </c:pt>
                <c:pt idx="928">
                  <c:v>38.722064316067545</c:v>
                </c:pt>
                <c:pt idx="929">
                  <c:v>39.056205466865748</c:v>
                </c:pt>
                <c:pt idx="930">
                  <c:v>39.056205466865748</c:v>
                </c:pt>
                <c:pt idx="931">
                  <c:v>39.056205466865748</c:v>
                </c:pt>
                <c:pt idx="932">
                  <c:v>39.056205466865748</c:v>
                </c:pt>
                <c:pt idx="933">
                  <c:v>39.056205466865748</c:v>
                </c:pt>
                <c:pt idx="934">
                  <c:v>39.056205466865748</c:v>
                </c:pt>
                <c:pt idx="935">
                  <c:v>39.80820041346044</c:v>
                </c:pt>
                <c:pt idx="936">
                  <c:v>39.686178591937527</c:v>
                </c:pt>
                <c:pt idx="937">
                  <c:v>39.933059951762949</c:v>
                </c:pt>
                <c:pt idx="938">
                  <c:v>40.170718732054667</c:v>
                </c:pt>
                <c:pt idx="939">
                  <c:v>40.170718732054667</c:v>
                </c:pt>
                <c:pt idx="940">
                  <c:v>40.170718732054667</c:v>
                </c:pt>
                <c:pt idx="941">
                  <c:v>40.211865625358904</c:v>
                </c:pt>
                <c:pt idx="942">
                  <c:v>40.87163477661651</c:v>
                </c:pt>
                <c:pt idx="943">
                  <c:v>41.031256345469153</c:v>
                </c:pt>
                <c:pt idx="944">
                  <c:v>41.031256345469153</c:v>
                </c:pt>
                <c:pt idx="945">
                  <c:v>41.390936947283784</c:v>
                </c:pt>
                <c:pt idx="946">
                  <c:v>41.390936947283784</c:v>
                </c:pt>
                <c:pt idx="947">
                  <c:v>41.390936947283784</c:v>
                </c:pt>
                <c:pt idx="948">
                  <c:v>41.291616859997681</c:v>
                </c:pt>
                <c:pt idx="949">
                  <c:v>41.343405191225429</c:v>
                </c:pt>
                <c:pt idx="950">
                  <c:v>41.415057539910393</c:v>
                </c:pt>
                <c:pt idx="951">
                  <c:v>41.788926725623043</c:v>
                </c:pt>
                <c:pt idx="952">
                  <c:v>41.811628459859868</c:v>
                </c:pt>
                <c:pt idx="953">
                  <c:v>41.811628459859868</c:v>
                </c:pt>
                <c:pt idx="954">
                  <c:v>41.811628459859868</c:v>
                </c:pt>
                <c:pt idx="955">
                  <c:v>42.282689445273903</c:v>
                </c:pt>
                <c:pt idx="956">
                  <c:v>42.244380268749268</c:v>
                </c:pt>
                <c:pt idx="957">
                  <c:v>42.408258412771318</c:v>
                </c:pt>
                <c:pt idx="958">
                  <c:v>42.245799127139072</c:v>
                </c:pt>
                <c:pt idx="959">
                  <c:v>42.111717009302851</c:v>
                </c:pt>
                <c:pt idx="960">
                  <c:v>42.111717009302851</c:v>
                </c:pt>
                <c:pt idx="961">
                  <c:v>42.111717009302851</c:v>
                </c:pt>
                <c:pt idx="962">
                  <c:v>42.170599632479593</c:v>
                </c:pt>
                <c:pt idx="963">
                  <c:v>41.980472608246224</c:v>
                </c:pt>
                <c:pt idx="964">
                  <c:v>42.223806822097146</c:v>
                </c:pt>
                <c:pt idx="965">
                  <c:v>42.499065349718599</c:v>
                </c:pt>
                <c:pt idx="966">
                  <c:v>42.69486780751118</c:v>
                </c:pt>
                <c:pt idx="967">
                  <c:v>42.69486780751118</c:v>
                </c:pt>
                <c:pt idx="968">
                  <c:v>42.69486780751118</c:v>
                </c:pt>
                <c:pt idx="969">
                  <c:v>42.62250602963131</c:v>
                </c:pt>
                <c:pt idx="970">
                  <c:v>42.848104513609726</c:v>
                </c:pt>
                <c:pt idx="971">
                  <c:v>42.951681176065229</c:v>
                </c:pt>
                <c:pt idx="972">
                  <c:v>42.951681176065229</c:v>
                </c:pt>
                <c:pt idx="973">
                  <c:v>42.938911450557015</c:v>
                </c:pt>
                <c:pt idx="974">
                  <c:v>42.938911450557015</c:v>
                </c:pt>
                <c:pt idx="975">
                  <c:v>42.938911450557015</c:v>
                </c:pt>
                <c:pt idx="976">
                  <c:v>43.331225795337076</c:v>
                </c:pt>
                <c:pt idx="977">
                  <c:v>43.417776157114957</c:v>
                </c:pt>
                <c:pt idx="978">
                  <c:v>43.21700769495807</c:v>
                </c:pt>
                <c:pt idx="979">
                  <c:v>43.749079591133558</c:v>
                </c:pt>
                <c:pt idx="980">
                  <c:v>44.039236131847929</c:v>
                </c:pt>
                <c:pt idx="981">
                  <c:v>44.039236131847929</c:v>
                </c:pt>
                <c:pt idx="982">
                  <c:v>44.039236131847929</c:v>
                </c:pt>
                <c:pt idx="983">
                  <c:v>44.039236131847929</c:v>
                </c:pt>
                <c:pt idx="984">
                  <c:v>44.095281038245076</c:v>
                </c:pt>
                <c:pt idx="985">
                  <c:v>43.900897438842307</c:v>
                </c:pt>
                <c:pt idx="986">
                  <c:v>44.163386240955546</c:v>
                </c:pt>
                <c:pt idx="987">
                  <c:v>44.190344550361772</c:v>
                </c:pt>
                <c:pt idx="988">
                  <c:v>44.190344550361772</c:v>
                </c:pt>
                <c:pt idx="989">
                  <c:v>44.190344550361772</c:v>
                </c:pt>
                <c:pt idx="990">
                  <c:v>44.03427012748363</c:v>
                </c:pt>
                <c:pt idx="991">
                  <c:v>43.609322039738139</c:v>
                </c:pt>
                <c:pt idx="992">
                  <c:v>44.250646031928333</c:v>
                </c:pt>
                <c:pt idx="993">
                  <c:v>44.757887906282299</c:v>
                </c:pt>
                <c:pt idx="994">
                  <c:v>44.655730102216609</c:v>
                </c:pt>
                <c:pt idx="995">
                  <c:v>44.655730102216609</c:v>
                </c:pt>
                <c:pt idx="996">
                  <c:v>44.655730102216609</c:v>
                </c:pt>
                <c:pt idx="997">
                  <c:v>44.775623636154812</c:v>
                </c:pt>
                <c:pt idx="998">
                  <c:v>44.511006546456869</c:v>
                </c:pt>
                <c:pt idx="999">
                  <c:v>43.860459974732969</c:v>
                </c:pt>
                <c:pt idx="1000">
                  <c:v>43.734891007235554</c:v>
                </c:pt>
                <c:pt idx="1001">
                  <c:v>43.796611347191913</c:v>
                </c:pt>
                <c:pt idx="1002">
                  <c:v>43.796611347191913</c:v>
                </c:pt>
                <c:pt idx="1003">
                  <c:v>43.796611347191913</c:v>
                </c:pt>
                <c:pt idx="1004">
                  <c:v>43.834211094521649</c:v>
                </c:pt>
                <c:pt idx="1005">
                  <c:v>44.161967382565749</c:v>
                </c:pt>
                <c:pt idx="1006">
                  <c:v>44.172608820489259</c:v>
                </c:pt>
                <c:pt idx="1007">
                  <c:v>44.61103606293787</c:v>
                </c:pt>
                <c:pt idx="1008">
                  <c:v>44.550025152176417</c:v>
                </c:pt>
                <c:pt idx="1009">
                  <c:v>44.550025152176417</c:v>
                </c:pt>
                <c:pt idx="1010">
                  <c:v>44.550025152176417</c:v>
                </c:pt>
                <c:pt idx="1011">
                  <c:v>44.550734581371316</c:v>
                </c:pt>
                <c:pt idx="1012">
                  <c:v>43.951266911680257</c:v>
                </c:pt>
                <c:pt idx="1013">
                  <c:v>43.977515791891584</c:v>
                </c:pt>
                <c:pt idx="1014">
                  <c:v>43.049582404961534</c:v>
                </c:pt>
                <c:pt idx="1015">
                  <c:v>43.157415642586429</c:v>
                </c:pt>
                <c:pt idx="1016">
                  <c:v>43.157415642586429</c:v>
                </c:pt>
                <c:pt idx="1017">
                  <c:v>43.157415642586429</c:v>
                </c:pt>
                <c:pt idx="1018">
                  <c:v>43.714317560583446</c:v>
                </c:pt>
                <c:pt idx="1019">
                  <c:v>43.822150798208341</c:v>
                </c:pt>
                <c:pt idx="1020">
                  <c:v>44.296758929596876</c:v>
                </c:pt>
                <c:pt idx="1021">
                  <c:v>44.111597909727806</c:v>
                </c:pt>
                <c:pt idx="1022">
                  <c:v>43.669623521304693</c:v>
                </c:pt>
                <c:pt idx="1023">
                  <c:v>43.669623521304693</c:v>
                </c:pt>
                <c:pt idx="1024">
                  <c:v>43.669623521304693</c:v>
                </c:pt>
                <c:pt idx="1025">
                  <c:v>43.842014815665557</c:v>
                </c:pt>
                <c:pt idx="1026">
                  <c:v>44.318041805443897</c:v>
                </c:pt>
                <c:pt idx="1027">
                  <c:v>44.46702193637303</c:v>
                </c:pt>
                <c:pt idx="1028">
                  <c:v>44.428712759848395</c:v>
                </c:pt>
                <c:pt idx="1029">
                  <c:v>44.139975077523836</c:v>
                </c:pt>
                <c:pt idx="1030">
                  <c:v>44.139975077523836</c:v>
                </c:pt>
                <c:pt idx="1031">
                  <c:v>44.139975077523836</c:v>
                </c:pt>
                <c:pt idx="1032">
                  <c:v>43.767524750200991</c:v>
                </c:pt>
                <c:pt idx="1033">
                  <c:v>43.974678075111981</c:v>
                </c:pt>
                <c:pt idx="1034">
                  <c:v>43.721411852532448</c:v>
                </c:pt>
                <c:pt idx="1035">
                  <c:v>43.437640174572188</c:v>
                </c:pt>
                <c:pt idx="1036">
                  <c:v>43.002760078098085</c:v>
                </c:pt>
                <c:pt idx="1037">
                  <c:v>43.002760078098085</c:v>
                </c:pt>
                <c:pt idx="1038">
                  <c:v>43.002760078098085</c:v>
                </c:pt>
                <c:pt idx="1039">
                  <c:v>43.136132766739408</c:v>
                </c:pt>
                <c:pt idx="1040">
                  <c:v>43.185083381187553</c:v>
                </c:pt>
                <c:pt idx="1041">
                  <c:v>42.740980705179744</c:v>
                </c:pt>
                <c:pt idx="1042">
                  <c:v>42.196139083496035</c:v>
                </c:pt>
                <c:pt idx="1043">
                  <c:v>41.733591248420808</c:v>
                </c:pt>
                <c:pt idx="1044">
                  <c:v>41.733591248420808</c:v>
                </c:pt>
                <c:pt idx="1045">
                  <c:v>41.733591248420808</c:v>
                </c:pt>
                <c:pt idx="1046">
                  <c:v>42.648045480647752</c:v>
                </c:pt>
                <c:pt idx="1047">
                  <c:v>42.108879292523255</c:v>
                </c:pt>
                <c:pt idx="1048">
                  <c:v>42.177693924428617</c:v>
                </c:pt>
                <c:pt idx="1049">
                  <c:v>42.328092913747554</c:v>
                </c:pt>
                <c:pt idx="1050">
                  <c:v>42.632438038359936</c:v>
                </c:pt>
                <c:pt idx="1051">
                  <c:v>42.632438038359936</c:v>
                </c:pt>
                <c:pt idx="1052">
                  <c:v>42.632438038359936</c:v>
                </c:pt>
                <c:pt idx="1053">
                  <c:v>42.708346962214307</c:v>
                </c:pt>
                <c:pt idx="1054">
                  <c:v>42.836753646491324</c:v>
                </c:pt>
                <c:pt idx="1055">
                  <c:v>43.063770988859531</c:v>
                </c:pt>
                <c:pt idx="1056">
                  <c:v>43.153159067417008</c:v>
                </c:pt>
                <c:pt idx="1057">
                  <c:v>43.002050648903165</c:v>
                </c:pt>
                <c:pt idx="1058">
                  <c:v>43.002050648903165</c:v>
                </c:pt>
                <c:pt idx="1059">
                  <c:v>43.002050648903165</c:v>
                </c:pt>
                <c:pt idx="1060">
                  <c:v>43.281565751694032</c:v>
                </c:pt>
                <c:pt idx="1061">
                  <c:v>43.64550292867807</c:v>
                </c:pt>
                <c:pt idx="1062">
                  <c:v>43.702257264270123</c:v>
                </c:pt>
                <c:pt idx="1063">
                  <c:v>43.53199425749397</c:v>
                </c:pt>
                <c:pt idx="1064">
                  <c:v>43.287241185253244</c:v>
                </c:pt>
                <c:pt idx="1065">
                  <c:v>43.287241185253244</c:v>
                </c:pt>
                <c:pt idx="1066">
                  <c:v>43.287241185253244</c:v>
                </c:pt>
                <c:pt idx="1067">
                  <c:v>43.529865969909267</c:v>
                </c:pt>
                <c:pt idx="1068">
                  <c:v>43.648340645457665</c:v>
                </c:pt>
                <c:pt idx="1069">
                  <c:v>43.823569656598124</c:v>
                </c:pt>
                <c:pt idx="1070">
                  <c:v>44.056971861720434</c:v>
                </c:pt>
                <c:pt idx="1071">
                  <c:v>43.710770414608916</c:v>
                </c:pt>
                <c:pt idx="1072">
                  <c:v>43.710770414608916</c:v>
                </c:pt>
                <c:pt idx="1073">
                  <c:v>43.710770414608916</c:v>
                </c:pt>
                <c:pt idx="1074">
                  <c:v>43.665366946135279</c:v>
                </c:pt>
                <c:pt idx="1075">
                  <c:v>43.538379120248067</c:v>
                </c:pt>
                <c:pt idx="1076">
                  <c:v>43.474530492707004</c:v>
                </c:pt>
                <c:pt idx="1077">
                  <c:v>43.354636958768801</c:v>
                </c:pt>
                <c:pt idx="1078">
                  <c:v>43.549729987366476</c:v>
                </c:pt>
                <c:pt idx="1079">
                  <c:v>43.549729987366476</c:v>
                </c:pt>
                <c:pt idx="1080">
                  <c:v>43.549729987366476</c:v>
                </c:pt>
                <c:pt idx="1081">
                  <c:v>43.416357298725153</c:v>
                </c:pt>
                <c:pt idx="1082">
                  <c:v>43.481624784656006</c:v>
                </c:pt>
                <c:pt idx="1083">
                  <c:v>43.778875617319386</c:v>
                </c:pt>
                <c:pt idx="1084">
                  <c:v>43.911538876765803</c:v>
                </c:pt>
                <c:pt idx="1085">
                  <c:v>43.862588262317658</c:v>
                </c:pt>
                <c:pt idx="1086">
                  <c:v>43.862588262317658</c:v>
                </c:pt>
                <c:pt idx="1087">
                  <c:v>43.862588262317658</c:v>
                </c:pt>
                <c:pt idx="1088">
                  <c:v>43.676008384058782</c:v>
                </c:pt>
                <c:pt idx="1089">
                  <c:v>43.134713908349582</c:v>
                </c:pt>
                <c:pt idx="1090">
                  <c:v>43.172313655679318</c:v>
                </c:pt>
                <c:pt idx="1091">
                  <c:v>42.900602274032373</c:v>
                </c:pt>
                <c:pt idx="1092">
                  <c:v>43.051710692546209</c:v>
                </c:pt>
                <c:pt idx="1093">
                  <c:v>43.051710692546209</c:v>
                </c:pt>
                <c:pt idx="1094">
                  <c:v>43.051710692546209</c:v>
                </c:pt>
                <c:pt idx="1095">
                  <c:v>43.077959572757536</c:v>
                </c:pt>
                <c:pt idx="1096">
                  <c:v>43.231196278856075</c:v>
                </c:pt>
                <c:pt idx="1097">
                  <c:v>42.76722958539105</c:v>
                </c:pt>
                <c:pt idx="1098">
                  <c:v>41.559071666475226</c:v>
                </c:pt>
                <c:pt idx="1099">
                  <c:v>41.47394016308715</c:v>
                </c:pt>
                <c:pt idx="1100">
                  <c:v>41.47394016308715</c:v>
                </c:pt>
                <c:pt idx="1101">
                  <c:v>41.47394016308715</c:v>
                </c:pt>
                <c:pt idx="1102">
                  <c:v>41.465427012748343</c:v>
                </c:pt>
                <c:pt idx="1103">
                  <c:v>40.75741667623749</c:v>
                </c:pt>
                <c:pt idx="1104">
                  <c:v>40.500603307683456</c:v>
                </c:pt>
                <c:pt idx="1105">
                  <c:v>39.95363339841505</c:v>
                </c:pt>
                <c:pt idx="1106">
                  <c:v>39.206604456184664</c:v>
                </c:pt>
                <c:pt idx="1107">
                  <c:v>39.206604456184664</c:v>
                </c:pt>
                <c:pt idx="1108">
                  <c:v>39.206604456184664</c:v>
                </c:pt>
                <c:pt idx="1109">
                  <c:v>39.408082347536457</c:v>
                </c:pt>
                <c:pt idx="1110">
                  <c:v>39.601047088549436</c:v>
                </c:pt>
                <c:pt idx="1111">
                  <c:v>38.824222120133214</c:v>
                </c:pt>
                <c:pt idx="1112">
                  <c:v>37.799806362696671</c:v>
                </c:pt>
                <c:pt idx="1113">
                  <c:v>39.269743654530821</c:v>
                </c:pt>
                <c:pt idx="1114">
                  <c:v>39.269743654530821</c:v>
                </c:pt>
                <c:pt idx="1115">
                  <c:v>39.269743654530821</c:v>
                </c:pt>
                <c:pt idx="1116">
                  <c:v>38.917866773860098</c:v>
                </c:pt>
                <c:pt idx="1117">
                  <c:v>40.23314850120591</c:v>
                </c:pt>
                <c:pt idx="1118">
                  <c:v>40.762382680601803</c:v>
                </c:pt>
                <c:pt idx="1119">
                  <c:v>40.659515447341207</c:v>
                </c:pt>
                <c:pt idx="1120">
                  <c:v>40.691439761111738</c:v>
                </c:pt>
                <c:pt idx="1121">
                  <c:v>40.691439761111738</c:v>
                </c:pt>
                <c:pt idx="1122">
                  <c:v>40.691439761111738</c:v>
                </c:pt>
                <c:pt idx="1123">
                  <c:v>40.523305041920281</c:v>
                </c:pt>
                <c:pt idx="1124">
                  <c:v>41.090138968645903</c:v>
                </c:pt>
                <c:pt idx="1125">
                  <c:v>41.557652808085429</c:v>
                </c:pt>
                <c:pt idx="1126">
                  <c:v>41.222092798897421</c:v>
                </c:pt>
                <c:pt idx="1127">
                  <c:v>41.521471919145498</c:v>
                </c:pt>
                <c:pt idx="1128">
                  <c:v>41.521471919145498</c:v>
                </c:pt>
                <c:pt idx="1129">
                  <c:v>41.521471919145498</c:v>
                </c:pt>
                <c:pt idx="1130">
                  <c:v>41.515796485586293</c:v>
                </c:pt>
                <c:pt idx="1131">
                  <c:v>41.001460319283318</c:v>
                </c:pt>
                <c:pt idx="1132">
                  <c:v>41.518634202365895</c:v>
                </c:pt>
                <c:pt idx="1133">
                  <c:v>41.477487309061658</c:v>
                </c:pt>
                <c:pt idx="1134">
                  <c:v>41.691734925921651</c:v>
                </c:pt>
                <c:pt idx="1135">
                  <c:v>41.691734925921651</c:v>
                </c:pt>
                <c:pt idx="1136">
                  <c:v>41.691734925921651</c:v>
                </c:pt>
                <c:pt idx="1137">
                  <c:v>41.96770288273801</c:v>
                </c:pt>
                <c:pt idx="1138">
                  <c:v>42.115973584472243</c:v>
                </c:pt>
                <c:pt idx="1139">
                  <c:v>41.916623980705161</c:v>
                </c:pt>
                <c:pt idx="1140">
                  <c:v>41.659101182956221</c:v>
                </c:pt>
                <c:pt idx="1141">
                  <c:v>42.468559894337865</c:v>
                </c:pt>
                <c:pt idx="1142">
                  <c:v>42.468559894337865</c:v>
                </c:pt>
                <c:pt idx="1143">
                  <c:v>42.468559894337865</c:v>
                </c:pt>
                <c:pt idx="1144">
                  <c:v>42.44798644768575</c:v>
                </c:pt>
                <c:pt idx="1145">
                  <c:v>42.628890892385414</c:v>
                </c:pt>
                <c:pt idx="1146">
                  <c:v>42.73175812564601</c:v>
                </c:pt>
                <c:pt idx="1147">
                  <c:v>42.590581715860779</c:v>
                </c:pt>
                <c:pt idx="1148">
                  <c:v>43.031846675088985</c:v>
                </c:pt>
                <c:pt idx="1149">
                  <c:v>43.031846675088985</c:v>
                </c:pt>
                <c:pt idx="1150">
                  <c:v>43.031846675088985</c:v>
                </c:pt>
                <c:pt idx="1151">
                  <c:v>43.098533019409643</c:v>
                </c:pt>
                <c:pt idx="1152">
                  <c:v>42.999922361318454</c:v>
                </c:pt>
                <c:pt idx="1153">
                  <c:v>42.341572068450645</c:v>
                </c:pt>
                <c:pt idx="1154">
                  <c:v>41.305096014700787</c:v>
                </c:pt>
                <c:pt idx="1155">
                  <c:v>40.177813024003648</c:v>
                </c:pt>
                <c:pt idx="1156">
                  <c:v>40.177813024003648</c:v>
                </c:pt>
                <c:pt idx="1157">
                  <c:v>40.177813024003648</c:v>
                </c:pt>
                <c:pt idx="1158">
                  <c:v>40.023866888710202</c:v>
                </c:pt>
                <c:pt idx="1159">
                  <c:v>40.457328126794508</c:v>
                </c:pt>
                <c:pt idx="1160">
                  <c:v>40.782956127253904</c:v>
                </c:pt>
                <c:pt idx="1161">
                  <c:v>40.362264614677819</c:v>
                </c:pt>
                <c:pt idx="1162">
                  <c:v>40.275714252899938</c:v>
                </c:pt>
                <c:pt idx="1163">
                  <c:v>40.275714252899938</c:v>
                </c:pt>
                <c:pt idx="1164">
                  <c:v>40.275714252899938</c:v>
                </c:pt>
                <c:pt idx="1165">
                  <c:v>39.862117032272856</c:v>
                </c:pt>
                <c:pt idx="1166">
                  <c:v>39.264068220971609</c:v>
                </c:pt>
                <c:pt idx="1167">
                  <c:v>39.366935454232198</c:v>
                </c:pt>
                <c:pt idx="1168">
                  <c:v>39.254845641437896</c:v>
                </c:pt>
                <c:pt idx="1169">
                  <c:v>38.641189387848826</c:v>
                </c:pt>
                <c:pt idx="1170">
                  <c:v>38.641189387848826</c:v>
                </c:pt>
                <c:pt idx="1171">
                  <c:v>38.641189387848826</c:v>
                </c:pt>
                <c:pt idx="1172">
                  <c:v>38.470926381072672</c:v>
                </c:pt>
                <c:pt idx="1173">
                  <c:v>38.04243114735268</c:v>
                </c:pt>
                <c:pt idx="1174">
                  <c:v>39.161200987711013</c:v>
                </c:pt>
                <c:pt idx="1175">
                  <c:v>40.69640576547603</c:v>
                </c:pt>
                <c:pt idx="1176">
                  <c:v>40.976630297461789</c:v>
                </c:pt>
                <c:pt idx="1177">
                  <c:v>40.976630297461789</c:v>
                </c:pt>
                <c:pt idx="1178">
                  <c:v>40.976630297461789</c:v>
                </c:pt>
                <c:pt idx="1179">
                  <c:v>41.177398759618669</c:v>
                </c:pt>
                <c:pt idx="1180">
                  <c:v>41.346242908005024</c:v>
                </c:pt>
                <c:pt idx="1181">
                  <c:v>41.346242908005024</c:v>
                </c:pt>
                <c:pt idx="1182">
                  <c:v>41.346242908005024</c:v>
                </c:pt>
                <c:pt idx="1183">
                  <c:v>41.346242908005024</c:v>
                </c:pt>
                <c:pt idx="1184">
                  <c:v>41.346242908005024</c:v>
                </c:pt>
                <c:pt idx="1185">
                  <c:v>41.346242908005024</c:v>
                </c:pt>
                <c:pt idx="1186">
                  <c:v>41.196553347880993</c:v>
                </c:pt>
                <c:pt idx="1187">
                  <c:v>40.865959343057284</c:v>
                </c:pt>
                <c:pt idx="1188">
                  <c:v>40.865959343057284</c:v>
                </c:pt>
                <c:pt idx="1189">
                  <c:v>40.865959343057284</c:v>
                </c:pt>
                <c:pt idx="1190">
                  <c:v>41.101489835764305</c:v>
                </c:pt>
                <c:pt idx="1191">
                  <c:v>41.101489835764305</c:v>
                </c:pt>
                <c:pt idx="1192">
                  <c:v>41.101489835764305</c:v>
                </c:pt>
                <c:pt idx="1193">
                  <c:v>40.114673825657498</c:v>
                </c:pt>
                <c:pt idx="1194">
                  <c:v>40.436045250947494</c:v>
                </c:pt>
                <c:pt idx="1195">
                  <c:v>40.675832318823907</c:v>
                </c:pt>
                <c:pt idx="1196">
                  <c:v>41.151859308602248</c:v>
                </c:pt>
                <c:pt idx="1197">
                  <c:v>41.178108188813574</c:v>
                </c:pt>
                <c:pt idx="1198">
                  <c:v>41.178108188813574</c:v>
                </c:pt>
                <c:pt idx="1199">
                  <c:v>41.178108188813574</c:v>
                </c:pt>
                <c:pt idx="1200">
                  <c:v>40.694986907086225</c:v>
                </c:pt>
                <c:pt idx="1201">
                  <c:v>41.338439186861123</c:v>
                </c:pt>
                <c:pt idx="1202">
                  <c:v>40.810623865855035</c:v>
                </c:pt>
                <c:pt idx="1203">
                  <c:v>41.12206328241642</c:v>
                </c:pt>
                <c:pt idx="1204">
                  <c:v>41.06318065923967</c:v>
                </c:pt>
                <c:pt idx="1205">
                  <c:v>41.06318065923967</c:v>
                </c:pt>
                <c:pt idx="1206">
                  <c:v>41.06318065923967</c:v>
                </c:pt>
                <c:pt idx="1207">
                  <c:v>42.054253244515884</c:v>
                </c:pt>
                <c:pt idx="1208">
                  <c:v>41.759840128632113</c:v>
                </c:pt>
                <c:pt idx="1209">
                  <c:v>42.129452739175356</c:v>
                </c:pt>
                <c:pt idx="1210">
                  <c:v>42.517510508786017</c:v>
                </c:pt>
                <c:pt idx="1211">
                  <c:v>42.798444469966675</c:v>
                </c:pt>
                <c:pt idx="1212">
                  <c:v>42.798444469966675</c:v>
                </c:pt>
                <c:pt idx="1213">
                  <c:v>42.798444469966675</c:v>
                </c:pt>
                <c:pt idx="1214">
                  <c:v>42.803410474330988</c:v>
                </c:pt>
                <c:pt idx="1215">
                  <c:v>42.383428390949796</c:v>
                </c:pt>
                <c:pt idx="1216">
                  <c:v>42.508997358447218</c:v>
                </c:pt>
                <c:pt idx="1217">
                  <c:v>42.323836338578147</c:v>
                </c:pt>
                <c:pt idx="1218">
                  <c:v>42.295459170782124</c:v>
                </c:pt>
                <c:pt idx="1219">
                  <c:v>42.295459170782124</c:v>
                </c:pt>
                <c:pt idx="1220">
                  <c:v>42.295459170782124</c:v>
                </c:pt>
                <c:pt idx="1221">
                  <c:v>42.693448949121382</c:v>
                </c:pt>
                <c:pt idx="1222">
                  <c:v>43.606484322958529</c:v>
                </c:pt>
                <c:pt idx="1223">
                  <c:v>42.956647180429528</c:v>
                </c:pt>
                <c:pt idx="1224">
                  <c:v>43.439059032961971</c:v>
                </c:pt>
                <c:pt idx="1225">
                  <c:v>43.680264959228197</c:v>
                </c:pt>
                <c:pt idx="1226">
                  <c:v>43.680264959228197</c:v>
                </c:pt>
                <c:pt idx="1227">
                  <c:v>43.680264959228197</c:v>
                </c:pt>
                <c:pt idx="1228">
                  <c:v>43.812928218674621</c:v>
                </c:pt>
                <c:pt idx="1229">
                  <c:v>43.641955782703555</c:v>
                </c:pt>
                <c:pt idx="1230">
                  <c:v>42.814761341449397</c:v>
                </c:pt>
                <c:pt idx="1231">
                  <c:v>43.370953830251516</c:v>
                </c:pt>
                <c:pt idx="1232">
                  <c:v>43.747660732743761</c:v>
                </c:pt>
                <c:pt idx="1233">
                  <c:v>43.747660732743761</c:v>
                </c:pt>
                <c:pt idx="1234">
                  <c:v>43.747660732743761</c:v>
                </c:pt>
                <c:pt idx="1235">
                  <c:v>44.056262432525543</c:v>
                </c:pt>
                <c:pt idx="1236">
                  <c:v>43.728506144481443</c:v>
                </c:pt>
                <c:pt idx="1237">
                  <c:v>44.032851269093818</c:v>
                </c:pt>
                <c:pt idx="1238">
                  <c:v>43.595842885035019</c:v>
                </c:pt>
                <c:pt idx="1239">
                  <c:v>43.561080854484885</c:v>
                </c:pt>
                <c:pt idx="1240">
                  <c:v>43.561080854484885</c:v>
                </c:pt>
                <c:pt idx="1241">
                  <c:v>43.561080854484885</c:v>
                </c:pt>
                <c:pt idx="1242">
                  <c:v>43.528447111519462</c:v>
                </c:pt>
                <c:pt idx="1243">
                  <c:v>43.597261743424824</c:v>
                </c:pt>
                <c:pt idx="1244">
                  <c:v>43.805124497530727</c:v>
                </c:pt>
                <c:pt idx="1245">
                  <c:v>43.944882048926161</c:v>
                </c:pt>
                <c:pt idx="1246">
                  <c:v>43.675298954863905</c:v>
                </c:pt>
                <c:pt idx="1247">
                  <c:v>43.675298954863905</c:v>
                </c:pt>
                <c:pt idx="1248">
                  <c:v>43.675298954863905</c:v>
                </c:pt>
                <c:pt idx="1249">
                  <c:v>43.505745377282651</c:v>
                </c:pt>
                <c:pt idx="1250">
                  <c:v>43.766105891811193</c:v>
                </c:pt>
                <c:pt idx="1251">
                  <c:v>43.22197369932239</c:v>
                </c:pt>
                <c:pt idx="1252">
                  <c:v>43.743404157574375</c:v>
                </c:pt>
                <c:pt idx="1253">
                  <c:v>43.864716549902383</c:v>
                </c:pt>
                <c:pt idx="1254">
                  <c:v>43.864716549902383</c:v>
                </c:pt>
                <c:pt idx="1255">
                  <c:v>43.864716549902383</c:v>
                </c:pt>
                <c:pt idx="1256">
                  <c:v>43.577397725967622</c:v>
                </c:pt>
                <c:pt idx="1257">
                  <c:v>42.81405191225452</c:v>
                </c:pt>
                <c:pt idx="1258">
                  <c:v>43.180117376823254</c:v>
                </c:pt>
                <c:pt idx="1259">
                  <c:v>43.442606178936501</c:v>
                </c:pt>
                <c:pt idx="1260">
                  <c:v>43.379466980590344</c:v>
                </c:pt>
                <c:pt idx="1261">
                  <c:v>43.379466980590344</c:v>
                </c:pt>
                <c:pt idx="1262">
                  <c:v>43.379466980590344</c:v>
                </c:pt>
                <c:pt idx="1263">
                  <c:v>43.329097507752394</c:v>
                </c:pt>
                <c:pt idx="1264">
                  <c:v>43.380885838980142</c:v>
                </c:pt>
                <c:pt idx="1265">
                  <c:v>43.815056506259339</c:v>
                </c:pt>
                <c:pt idx="1266">
                  <c:v>43.559661996095102</c:v>
                </c:pt>
                <c:pt idx="1267">
                  <c:v>44.208789709429198</c:v>
                </c:pt>
                <c:pt idx="1268">
                  <c:v>44.208789709429198</c:v>
                </c:pt>
                <c:pt idx="1269">
                  <c:v>44.208789709429198</c:v>
                </c:pt>
                <c:pt idx="1270">
                  <c:v>44.15274480303205</c:v>
                </c:pt>
                <c:pt idx="1271">
                  <c:v>44.052005857356157</c:v>
                </c:pt>
                <c:pt idx="1272">
                  <c:v>43.741275869989671</c:v>
                </c:pt>
                <c:pt idx="1273">
                  <c:v>43.371663259446429</c:v>
                </c:pt>
                <c:pt idx="1274">
                  <c:v>43.734181578040669</c:v>
                </c:pt>
                <c:pt idx="1275">
                  <c:v>43.734181578040669</c:v>
                </c:pt>
                <c:pt idx="1276">
                  <c:v>43.734181578040669</c:v>
                </c:pt>
                <c:pt idx="1277">
                  <c:v>43.951976340875163</c:v>
                </c:pt>
                <c:pt idx="1278">
                  <c:v>43.927855748248547</c:v>
                </c:pt>
                <c:pt idx="1279">
                  <c:v>44.137846789939132</c:v>
                </c:pt>
                <c:pt idx="1280">
                  <c:v>44.137846789939132</c:v>
                </c:pt>
                <c:pt idx="1281">
                  <c:v>44.137846789939132</c:v>
                </c:pt>
                <c:pt idx="1282">
                  <c:v>44.137846789939132</c:v>
                </c:pt>
                <c:pt idx="1283">
                  <c:v>44.137846789939132</c:v>
                </c:pt>
                <c:pt idx="1284">
                  <c:v>44.137846789939132</c:v>
                </c:pt>
                <c:pt idx="1285">
                  <c:v>45.743994487194215</c:v>
                </c:pt>
                <c:pt idx="1286">
                  <c:v>45.604236935798795</c:v>
                </c:pt>
                <c:pt idx="1287">
                  <c:v>45.758892500287132</c:v>
                </c:pt>
                <c:pt idx="1288">
                  <c:v>46.560547490524868</c:v>
                </c:pt>
                <c:pt idx="1289">
                  <c:v>46.560547490524868</c:v>
                </c:pt>
                <c:pt idx="1290">
                  <c:v>46.560547490524868</c:v>
                </c:pt>
                <c:pt idx="1291">
                  <c:v>46.603822671413809</c:v>
                </c:pt>
                <c:pt idx="1292">
                  <c:v>46.561256919719774</c:v>
                </c:pt>
                <c:pt idx="1293">
                  <c:v>46.9159715171701</c:v>
                </c:pt>
                <c:pt idx="1294">
                  <c:v>46.823036292638108</c:v>
                </c:pt>
                <c:pt idx="1295">
                  <c:v>46.195900884345924</c:v>
                </c:pt>
                <c:pt idx="1296">
                  <c:v>46.195900884345924</c:v>
                </c:pt>
                <c:pt idx="1297">
                  <c:v>46.195900884345924</c:v>
                </c:pt>
                <c:pt idx="1298">
                  <c:v>46.212927185023538</c:v>
                </c:pt>
                <c:pt idx="1299">
                  <c:v>46.471159411967378</c:v>
                </c:pt>
                <c:pt idx="1300">
                  <c:v>45.82983541977719</c:v>
                </c:pt>
                <c:pt idx="1301">
                  <c:v>46.189516021591828</c:v>
                </c:pt>
                <c:pt idx="1302">
                  <c:v>46.210089468243943</c:v>
                </c:pt>
                <c:pt idx="1303">
                  <c:v>46.210089468243943</c:v>
                </c:pt>
                <c:pt idx="1304">
                  <c:v>46.210089468243943</c:v>
                </c:pt>
                <c:pt idx="1305">
                  <c:v>46.260458941081886</c:v>
                </c:pt>
                <c:pt idx="1306">
                  <c:v>45.747541633168709</c:v>
                </c:pt>
                <c:pt idx="1307">
                  <c:v>44.847985414034675</c:v>
                </c:pt>
                <c:pt idx="1308">
                  <c:v>45.35806500516825</c:v>
                </c:pt>
                <c:pt idx="1309">
                  <c:v>45.35806500516825</c:v>
                </c:pt>
                <c:pt idx="1310">
                  <c:v>45.35806500516825</c:v>
                </c:pt>
                <c:pt idx="1311">
                  <c:v>45.35806500516825</c:v>
                </c:pt>
                <c:pt idx="1312">
                  <c:v>45.965336396003202</c:v>
                </c:pt>
                <c:pt idx="1313">
                  <c:v>46.040535890662674</c:v>
                </c:pt>
                <c:pt idx="1314">
                  <c:v>45.826288273802682</c:v>
                </c:pt>
                <c:pt idx="1315">
                  <c:v>45.472992534742154</c:v>
                </c:pt>
                <c:pt idx="1316">
                  <c:v>45.974558975536915</c:v>
                </c:pt>
                <c:pt idx="1317">
                  <c:v>45.974558975536915</c:v>
                </c:pt>
                <c:pt idx="1318">
                  <c:v>45.974558975536915</c:v>
                </c:pt>
                <c:pt idx="1319">
                  <c:v>46.41937108073963</c:v>
                </c:pt>
                <c:pt idx="1320">
                  <c:v>46.202995176294927</c:v>
                </c:pt>
                <c:pt idx="1321">
                  <c:v>46.675475020098766</c:v>
                </c:pt>
                <c:pt idx="1322">
                  <c:v>46.675475020098766</c:v>
                </c:pt>
                <c:pt idx="1323">
                  <c:v>46.371129895486384</c:v>
                </c:pt>
                <c:pt idx="1324">
                  <c:v>46.371129895486384</c:v>
                </c:pt>
                <c:pt idx="1325">
                  <c:v>46.371129895486384</c:v>
                </c:pt>
                <c:pt idx="1326">
                  <c:v>46.331401860571951</c:v>
                </c:pt>
                <c:pt idx="1327">
                  <c:v>46.183840588032609</c:v>
                </c:pt>
                <c:pt idx="1328">
                  <c:v>46.187387734007103</c:v>
                </c:pt>
                <c:pt idx="1329">
                  <c:v>46.320760422648419</c:v>
                </c:pt>
                <c:pt idx="1330">
                  <c:v>46.285288962903387</c:v>
                </c:pt>
                <c:pt idx="1331">
                  <c:v>46.285288962903387</c:v>
                </c:pt>
                <c:pt idx="1332">
                  <c:v>46.285288962903387</c:v>
                </c:pt>
                <c:pt idx="1333">
                  <c:v>46.285288962903387</c:v>
                </c:pt>
                <c:pt idx="1334">
                  <c:v>45.63687067876419</c:v>
                </c:pt>
                <c:pt idx="1335">
                  <c:v>45.861050304352801</c:v>
                </c:pt>
                <c:pt idx="1336">
                  <c:v>45.787269668083127</c:v>
                </c:pt>
                <c:pt idx="1337">
                  <c:v>45.806424256345437</c:v>
                </c:pt>
                <c:pt idx="1338">
                  <c:v>45.806424256345437</c:v>
                </c:pt>
                <c:pt idx="1339">
                  <c:v>45.806424256345437</c:v>
                </c:pt>
                <c:pt idx="1340">
                  <c:v>45.768115079820809</c:v>
                </c:pt>
                <c:pt idx="1341">
                  <c:v>46.154044561846774</c:v>
                </c:pt>
                <c:pt idx="1342">
                  <c:v>46.491732858619478</c:v>
                </c:pt>
                <c:pt idx="1343">
                  <c:v>46.061818766509681</c:v>
                </c:pt>
                <c:pt idx="1344">
                  <c:v>46.11715424371193</c:v>
                </c:pt>
                <c:pt idx="1345">
                  <c:v>46.11715424371193</c:v>
                </c:pt>
                <c:pt idx="1346">
                  <c:v>46.11715424371193</c:v>
                </c:pt>
                <c:pt idx="1347">
                  <c:v>46.233500631675646</c:v>
                </c:pt>
                <c:pt idx="1348">
                  <c:v>45.653896979441804</c:v>
                </c:pt>
                <c:pt idx="1349">
                  <c:v>45.664538417365314</c:v>
                </c:pt>
                <c:pt idx="1350">
                  <c:v>45.827707132192472</c:v>
                </c:pt>
                <c:pt idx="1351">
                  <c:v>45.158715401401153</c:v>
                </c:pt>
                <c:pt idx="1352">
                  <c:v>45.158715401401153</c:v>
                </c:pt>
                <c:pt idx="1353">
                  <c:v>45.158715401401153</c:v>
                </c:pt>
                <c:pt idx="1354">
                  <c:v>44.507459400482354</c:v>
                </c:pt>
                <c:pt idx="1355">
                  <c:v>44.596138049844932</c:v>
                </c:pt>
                <c:pt idx="1356">
                  <c:v>44.808257379120228</c:v>
                </c:pt>
                <c:pt idx="1357">
                  <c:v>44.596138049844932</c:v>
                </c:pt>
                <c:pt idx="1358">
                  <c:v>44.852241989204067</c:v>
                </c:pt>
                <c:pt idx="1359">
                  <c:v>44.852241989204067</c:v>
                </c:pt>
                <c:pt idx="1360">
                  <c:v>44.852241989204067</c:v>
                </c:pt>
                <c:pt idx="1361">
                  <c:v>45.38998931893876</c:v>
                </c:pt>
                <c:pt idx="1362">
                  <c:v>45.674470426093933</c:v>
                </c:pt>
                <c:pt idx="1363">
                  <c:v>45.870982313081413</c:v>
                </c:pt>
                <c:pt idx="1364">
                  <c:v>45.655315837831608</c:v>
                </c:pt>
                <c:pt idx="1365">
                  <c:v>45.587920064316052</c:v>
                </c:pt>
                <c:pt idx="1366">
                  <c:v>45.587920064316052</c:v>
                </c:pt>
                <c:pt idx="1367">
                  <c:v>45.587920064316052</c:v>
                </c:pt>
                <c:pt idx="1368">
                  <c:v>44.792649936832412</c:v>
                </c:pt>
                <c:pt idx="1369">
                  <c:v>44.630900080395065</c:v>
                </c:pt>
                <c:pt idx="1370">
                  <c:v>44.681269553233022</c:v>
                </c:pt>
                <c:pt idx="1371">
                  <c:v>44.872815435856197</c:v>
                </c:pt>
                <c:pt idx="1372">
                  <c:v>44.537964855863088</c:v>
                </c:pt>
                <c:pt idx="1373">
                  <c:v>44.537964855863088</c:v>
                </c:pt>
                <c:pt idx="1374">
                  <c:v>44.537964855863088</c:v>
                </c:pt>
                <c:pt idx="1375">
                  <c:v>44.008021247272303</c:v>
                </c:pt>
                <c:pt idx="1376">
                  <c:v>43.683812105202698</c:v>
                </c:pt>
                <c:pt idx="1377">
                  <c:v>43.849818536809451</c:v>
                </c:pt>
                <c:pt idx="1378">
                  <c:v>44.451414494085213</c:v>
                </c:pt>
                <c:pt idx="1379">
                  <c:v>45.039531296657856</c:v>
                </c:pt>
                <c:pt idx="1380">
                  <c:v>45.039531296657856</c:v>
                </c:pt>
                <c:pt idx="1381">
                  <c:v>45.039531296657856</c:v>
                </c:pt>
                <c:pt idx="1382">
                  <c:v>45.34671413804984</c:v>
                </c:pt>
                <c:pt idx="1383">
                  <c:v>45.690077868381756</c:v>
                </c:pt>
                <c:pt idx="1384">
                  <c:v>45.858922016768112</c:v>
                </c:pt>
                <c:pt idx="1385">
                  <c:v>46.088777075915921</c:v>
                </c:pt>
                <c:pt idx="1386">
                  <c:v>46.04550189502698</c:v>
                </c:pt>
                <c:pt idx="1387">
                  <c:v>46.04550189502698</c:v>
                </c:pt>
                <c:pt idx="1388">
                  <c:v>46.04550189502698</c:v>
                </c:pt>
                <c:pt idx="1389">
                  <c:v>46.010739864476847</c:v>
                </c:pt>
                <c:pt idx="1390">
                  <c:v>46.177455725278499</c:v>
                </c:pt>
                <c:pt idx="1391">
                  <c:v>45.727677615711492</c:v>
                </c:pt>
                <c:pt idx="1392">
                  <c:v>45.800039393591355</c:v>
                </c:pt>
                <c:pt idx="1393">
                  <c:v>45.531875157918904</c:v>
                </c:pt>
                <c:pt idx="1394">
                  <c:v>45.531875157918904</c:v>
                </c:pt>
                <c:pt idx="1395">
                  <c:v>45.531875157918904</c:v>
                </c:pt>
                <c:pt idx="1396">
                  <c:v>44.457089927644418</c:v>
                </c:pt>
                <c:pt idx="1397">
                  <c:v>44.589043757895936</c:v>
                </c:pt>
                <c:pt idx="1398">
                  <c:v>45.291378660847585</c:v>
                </c:pt>
                <c:pt idx="1399">
                  <c:v>45.529746870334208</c:v>
                </c:pt>
                <c:pt idx="1400">
                  <c:v>45.327559549787516</c:v>
                </c:pt>
                <c:pt idx="1401">
                  <c:v>45.327559549787516</c:v>
                </c:pt>
                <c:pt idx="1402">
                  <c:v>45.327559549787516</c:v>
                </c:pt>
                <c:pt idx="1403">
                  <c:v>45.384313885379576</c:v>
                </c:pt>
                <c:pt idx="1404">
                  <c:v>45.309823819915003</c:v>
                </c:pt>
                <c:pt idx="1405">
                  <c:v>45.691496726771554</c:v>
                </c:pt>
                <c:pt idx="1406">
                  <c:v>45.082806477546796</c:v>
                </c:pt>
                <c:pt idx="1407">
                  <c:v>45.133885379579645</c:v>
                </c:pt>
                <c:pt idx="1408">
                  <c:v>45.133885379579645</c:v>
                </c:pt>
                <c:pt idx="1409">
                  <c:v>45.133885379579645</c:v>
                </c:pt>
                <c:pt idx="1410">
                  <c:v>45.060104743309971</c:v>
                </c:pt>
                <c:pt idx="1411">
                  <c:v>44.327973814172502</c:v>
                </c:pt>
                <c:pt idx="1412">
                  <c:v>43.813637647869527</c:v>
                </c:pt>
                <c:pt idx="1413">
                  <c:v>44.054134144940846</c:v>
                </c:pt>
                <c:pt idx="1414">
                  <c:v>43.463889054783493</c:v>
                </c:pt>
                <c:pt idx="1415">
                  <c:v>43.463889054783493</c:v>
                </c:pt>
                <c:pt idx="1416">
                  <c:v>43.463889054783493</c:v>
                </c:pt>
                <c:pt idx="1417">
                  <c:v>43.459632479614093</c:v>
                </c:pt>
                <c:pt idx="1418">
                  <c:v>43.466017342368204</c:v>
                </c:pt>
                <c:pt idx="1419">
                  <c:v>43.021914666360388</c:v>
                </c:pt>
                <c:pt idx="1420">
                  <c:v>42.252893419088082</c:v>
                </c:pt>
                <c:pt idx="1421">
                  <c:v>41.547011370161925</c:v>
                </c:pt>
                <c:pt idx="1422">
                  <c:v>41.547011370161925</c:v>
                </c:pt>
                <c:pt idx="1423">
                  <c:v>41.547011370161925</c:v>
                </c:pt>
                <c:pt idx="1424">
                  <c:v>39.391056046858836</c:v>
                </c:pt>
                <c:pt idx="1425">
                  <c:v>40.507697599632465</c:v>
                </c:pt>
                <c:pt idx="1426">
                  <c:v>40.819137016193849</c:v>
                </c:pt>
                <c:pt idx="1427">
                  <c:v>41.584611117491654</c:v>
                </c:pt>
                <c:pt idx="1428">
                  <c:v>42.097528425404825</c:v>
                </c:pt>
                <c:pt idx="1429">
                  <c:v>42.097528425404825</c:v>
                </c:pt>
                <c:pt idx="1430">
                  <c:v>42.097528425404825</c:v>
                </c:pt>
                <c:pt idx="1431">
                  <c:v>42.147188469047869</c:v>
                </c:pt>
                <c:pt idx="1432">
                  <c:v>41.330635465717215</c:v>
                </c:pt>
                <c:pt idx="1433">
                  <c:v>41.303677156310989</c:v>
                </c:pt>
                <c:pt idx="1434">
                  <c:v>42.36214551510276</c:v>
                </c:pt>
                <c:pt idx="1435">
                  <c:v>41.305096014700787</c:v>
                </c:pt>
                <c:pt idx="1436">
                  <c:v>41.305096014700787</c:v>
                </c:pt>
                <c:pt idx="1437">
                  <c:v>41.305096014700787</c:v>
                </c:pt>
                <c:pt idx="1438">
                  <c:v>41.15895360055125</c:v>
                </c:pt>
                <c:pt idx="1439">
                  <c:v>41.874767658206011</c:v>
                </c:pt>
                <c:pt idx="1440">
                  <c:v>42.368530377856864</c:v>
                </c:pt>
                <c:pt idx="1441">
                  <c:v>41.517924773170975</c:v>
                </c:pt>
                <c:pt idx="1442">
                  <c:v>41.076659813942769</c:v>
                </c:pt>
                <c:pt idx="1443">
                  <c:v>41.076659813942769</c:v>
                </c:pt>
                <c:pt idx="1444">
                  <c:v>41.076659813942769</c:v>
                </c:pt>
                <c:pt idx="1445">
                  <c:v>40.784374985643701</c:v>
                </c:pt>
                <c:pt idx="1446">
                  <c:v>41.051829792121246</c:v>
                </c:pt>
                <c:pt idx="1447">
                  <c:v>41.695282071896145</c:v>
                </c:pt>
                <c:pt idx="1448">
                  <c:v>42.03651751464335</c:v>
                </c:pt>
                <c:pt idx="1449">
                  <c:v>41.454076145629919</c:v>
                </c:pt>
                <c:pt idx="1450">
                  <c:v>41.454076145629919</c:v>
                </c:pt>
                <c:pt idx="1451">
                  <c:v>41.454076145629919</c:v>
                </c:pt>
                <c:pt idx="1452">
                  <c:v>41.652006891007204</c:v>
                </c:pt>
                <c:pt idx="1453">
                  <c:v>41.096523831399992</c:v>
                </c:pt>
                <c:pt idx="1454">
                  <c:v>40.822684162168336</c:v>
                </c:pt>
                <c:pt idx="1455">
                  <c:v>40.201224187435365</c:v>
                </c:pt>
                <c:pt idx="1456">
                  <c:v>41.142636729068542</c:v>
                </c:pt>
                <c:pt idx="1457">
                  <c:v>41.142636729068542</c:v>
                </c:pt>
                <c:pt idx="1458">
                  <c:v>41.142636729068542</c:v>
                </c:pt>
                <c:pt idx="1459">
                  <c:v>40.47506385666702</c:v>
                </c:pt>
                <c:pt idx="1460">
                  <c:v>40.528980475479464</c:v>
                </c:pt>
                <c:pt idx="1461">
                  <c:v>41.273881130125147</c:v>
                </c:pt>
                <c:pt idx="1462">
                  <c:v>41.580354542322233</c:v>
                </c:pt>
                <c:pt idx="1463">
                  <c:v>41.251888825083235</c:v>
                </c:pt>
                <c:pt idx="1464">
                  <c:v>41.251888825083235</c:v>
                </c:pt>
                <c:pt idx="1465">
                  <c:v>41.251888825083235</c:v>
                </c:pt>
                <c:pt idx="1466">
                  <c:v>42.657977489376329</c:v>
                </c:pt>
                <c:pt idx="1467">
                  <c:v>43.488719076605001</c:v>
                </c:pt>
                <c:pt idx="1468">
                  <c:v>44.196019983920955</c:v>
                </c:pt>
                <c:pt idx="1469">
                  <c:v>43.605774893763602</c:v>
                </c:pt>
                <c:pt idx="1470">
                  <c:v>43.900188009647366</c:v>
                </c:pt>
                <c:pt idx="1471">
                  <c:v>43.900188009647366</c:v>
                </c:pt>
                <c:pt idx="1472">
                  <c:v>43.900188009647366</c:v>
                </c:pt>
                <c:pt idx="1473">
                  <c:v>43.478077638681476</c:v>
                </c:pt>
                <c:pt idx="1474">
                  <c:v>43.267377167795978</c:v>
                </c:pt>
                <c:pt idx="1475">
                  <c:v>43.133295049959756</c:v>
                </c:pt>
                <c:pt idx="1476">
                  <c:v>43.636280349144322</c:v>
                </c:pt>
                <c:pt idx="1477">
                  <c:v>43.560371425289951</c:v>
                </c:pt>
                <c:pt idx="1478">
                  <c:v>43.560371425289951</c:v>
                </c:pt>
                <c:pt idx="1479">
                  <c:v>43.560371425289951</c:v>
                </c:pt>
                <c:pt idx="1480">
                  <c:v>43.549020558171541</c:v>
                </c:pt>
                <c:pt idx="1481">
                  <c:v>43.511420810841813</c:v>
                </c:pt>
                <c:pt idx="1482">
                  <c:v>43.609322039738103</c:v>
                </c:pt>
                <c:pt idx="1483">
                  <c:v>43.674589525668956</c:v>
                </c:pt>
                <c:pt idx="1484">
                  <c:v>44.255612036292597</c:v>
                </c:pt>
                <c:pt idx="1485">
                  <c:v>44.255612036292597</c:v>
                </c:pt>
                <c:pt idx="1486">
                  <c:v>44.255612036292597</c:v>
                </c:pt>
                <c:pt idx="1487">
                  <c:v>44.235038589640475</c:v>
                </c:pt>
                <c:pt idx="1488">
                  <c:v>43.704385551854784</c:v>
                </c:pt>
                <c:pt idx="1489">
                  <c:v>44.180412541633125</c:v>
                </c:pt>
                <c:pt idx="1490">
                  <c:v>43.664657516940352</c:v>
                </c:pt>
                <c:pt idx="1491">
                  <c:v>43.646921787067839</c:v>
                </c:pt>
                <c:pt idx="1492">
                  <c:v>43.646921787067839</c:v>
                </c:pt>
                <c:pt idx="1493">
                  <c:v>43.646921787067839</c:v>
                </c:pt>
                <c:pt idx="1494">
                  <c:v>43.837048811301209</c:v>
                </c:pt>
                <c:pt idx="1495">
                  <c:v>44.240714023199686</c:v>
                </c:pt>
                <c:pt idx="1496">
                  <c:v>44.961494085218746</c:v>
                </c:pt>
                <c:pt idx="1497">
                  <c:v>44.596847479039809</c:v>
                </c:pt>
                <c:pt idx="1498">
                  <c:v>44.473406799127098</c:v>
                </c:pt>
                <c:pt idx="1499">
                  <c:v>44.473406799127098</c:v>
                </c:pt>
                <c:pt idx="1500">
                  <c:v>44.473406799127098</c:v>
                </c:pt>
                <c:pt idx="1501">
                  <c:v>44.589043757895901</c:v>
                </c:pt>
                <c:pt idx="1502">
                  <c:v>44.271219478580406</c:v>
                </c:pt>
                <c:pt idx="1503">
                  <c:v>44.234329160445576</c:v>
                </c:pt>
                <c:pt idx="1504">
                  <c:v>43.381595268174991</c:v>
                </c:pt>
                <c:pt idx="1505">
                  <c:v>43.195015389916115</c:v>
                </c:pt>
                <c:pt idx="1506">
                  <c:v>43.195015389916115</c:v>
                </c:pt>
                <c:pt idx="1507">
                  <c:v>43.195015389916115</c:v>
                </c:pt>
                <c:pt idx="1508">
                  <c:v>43.495813368553989</c:v>
                </c:pt>
                <c:pt idx="1509">
                  <c:v>44.130752497990066</c:v>
                </c:pt>
                <c:pt idx="1510">
                  <c:v>44.489723670609806</c:v>
                </c:pt>
                <c:pt idx="1511">
                  <c:v>44.562794877684574</c:v>
                </c:pt>
                <c:pt idx="1512">
                  <c:v>44.396788446077821</c:v>
                </c:pt>
                <c:pt idx="1513">
                  <c:v>44.396788446077821</c:v>
                </c:pt>
                <c:pt idx="1514">
                  <c:v>44.396788446077821</c:v>
                </c:pt>
                <c:pt idx="1515">
                  <c:v>44.336486964511273</c:v>
                </c:pt>
                <c:pt idx="1516">
                  <c:v>44.328683243367365</c:v>
                </c:pt>
                <c:pt idx="1517">
                  <c:v>44.303143792350937</c:v>
                </c:pt>
                <c:pt idx="1518">
                  <c:v>44.57201745721828</c:v>
                </c:pt>
                <c:pt idx="1519">
                  <c:v>44.369120707476696</c:v>
                </c:pt>
                <c:pt idx="1520">
                  <c:v>44.369120707476696</c:v>
                </c:pt>
                <c:pt idx="1521">
                  <c:v>44.369120707476696</c:v>
                </c:pt>
                <c:pt idx="1522">
                  <c:v>44.606070058573522</c:v>
                </c:pt>
                <c:pt idx="1523">
                  <c:v>44.868558860686768</c:v>
                </c:pt>
                <c:pt idx="1524">
                  <c:v>44.877781440220474</c:v>
                </c:pt>
                <c:pt idx="1525">
                  <c:v>44.237166877225178</c:v>
                </c:pt>
                <c:pt idx="1526">
                  <c:v>43.603646606178899</c:v>
                </c:pt>
                <c:pt idx="1527">
                  <c:v>43.603646606178899</c:v>
                </c:pt>
                <c:pt idx="1528">
                  <c:v>43.603646606178899</c:v>
                </c:pt>
                <c:pt idx="1529">
                  <c:v>43.771781325370355</c:v>
                </c:pt>
                <c:pt idx="1530">
                  <c:v>43.074412426783013</c:v>
                </c:pt>
                <c:pt idx="1531">
                  <c:v>43.342576662455464</c:v>
                </c:pt>
                <c:pt idx="1532">
                  <c:v>42.874353393821032</c:v>
                </c:pt>
                <c:pt idx="1533">
                  <c:v>42.197557941885805</c:v>
                </c:pt>
                <c:pt idx="1534">
                  <c:v>42.197557941885805</c:v>
                </c:pt>
                <c:pt idx="1535">
                  <c:v>42.197557941885805</c:v>
                </c:pt>
                <c:pt idx="1536">
                  <c:v>41.531403927874095</c:v>
                </c:pt>
                <c:pt idx="1537">
                  <c:v>42.703380957849987</c:v>
                </c:pt>
                <c:pt idx="1538">
                  <c:v>42.836044217296397</c:v>
                </c:pt>
                <c:pt idx="1539">
                  <c:v>42.626053175605804</c:v>
                </c:pt>
                <c:pt idx="1540">
                  <c:v>41.866254507867197</c:v>
                </c:pt>
                <c:pt idx="1541">
                  <c:v>41.866254507867197</c:v>
                </c:pt>
                <c:pt idx="1542">
                  <c:v>41.866254507867197</c:v>
                </c:pt>
                <c:pt idx="1543">
                  <c:v>41.937197427357262</c:v>
                </c:pt>
                <c:pt idx="1544">
                  <c:v>41.849228207189583</c:v>
                </c:pt>
                <c:pt idx="1545">
                  <c:v>42.938911450556994</c:v>
                </c:pt>
                <c:pt idx="1546">
                  <c:v>42.938911450556994</c:v>
                </c:pt>
                <c:pt idx="1547">
                  <c:v>42.938911450556994</c:v>
                </c:pt>
                <c:pt idx="1548">
                  <c:v>42.938911450556994</c:v>
                </c:pt>
                <c:pt idx="1549">
                  <c:v>42.938911450556994</c:v>
                </c:pt>
                <c:pt idx="1550">
                  <c:v>42.718988400137789</c:v>
                </c:pt>
                <c:pt idx="1551">
                  <c:v>43.238290570805077</c:v>
                </c:pt>
                <c:pt idx="1552">
                  <c:v>43.293626048007326</c:v>
                </c:pt>
                <c:pt idx="1553">
                  <c:v>43.293626048007326</c:v>
                </c:pt>
                <c:pt idx="1554">
                  <c:v>43.293626048007326</c:v>
                </c:pt>
                <c:pt idx="1555">
                  <c:v>43.293626048007326</c:v>
                </c:pt>
                <c:pt idx="1556">
                  <c:v>43.293626048007326</c:v>
                </c:pt>
                <c:pt idx="1557">
                  <c:v>42.609026874928198</c:v>
                </c:pt>
                <c:pt idx="1558">
                  <c:v>41.875477087400917</c:v>
                </c:pt>
                <c:pt idx="1559">
                  <c:v>41.271043413345559</c:v>
                </c:pt>
                <c:pt idx="1560">
                  <c:v>40.109707821293185</c:v>
                </c:pt>
                <c:pt idx="1561">
                  <c:v>39.994070862524381</c:v>
                </c:pt>
                <c:pt idx="1562">
                  <c:v>39.994070862524381</c:v>
                </c:pt>
                <c:pt idx="1563">
                  <c:v>39.994070862524381</c:v>
                </c:pt>
                <c:pt idx="1564">
                  <c:v>39.357003445503594</c:v>
                </c:pt>
                <c:pt idx="1565">
                  <c:v>39.338558286436175</c:v>
                </c:pt>
                <c:pt idx="1566">
                  <c:v>39.501727001263319</c:v>
                </c:pt>
                <c:pt idx="1567">
                  <c:v>38.463122659928764</c:v>
                </c:pt>
                <c:pt idx="1568">
                  <c:v>37.999865395658638</c:v>
                </c:pt>
                <c:pt idx="1569">
                  <c:v>37.999865395658638</c:v>
                </c:pt>
                <c:pt idx="1570">
                  <c:v>37.999865395658638</c:v>
                </c:pt>
                <c:pt idx="1571">
                  <c:v>37.491204662914875</c:v>
                </c:pt>
                <c:pt idx="1572">
                  <c:v>38.570246468358761</c:v>
                </c:pt>
                <c:pt idx="1573">
                  <c:v>36.751979441828382</c:v>
                </c:pt>
                <c:pt idx="1574">
                  <c:v>37.645150798208306</c:v>
                </c:pt>
                <c:pt idx="1575">
                  <c:v>39.204476168599946</c:v>
                </c:pt>
                <c:pt idx="1576">
                  <c:v>39.204476168599946</c:v>
                </c:pt>
                <c:pt idx="1577">
                  <c:v>39.204476168599946</c:v>
                </c:pt>
                <c:pt idx="1578">
                  <c:v>38.810742965430087</c:v>
                </c:pt>
                <c:pt idx="1579">
                  <c:v>39.090967497415839</c:v>
                </c:pt>
                <c:pt idx="1580">
                  <c:v>38.814290111404588</c:v>
                </c:pt>
                <c:pt idx="1581">
                  <c:v>39.183193292752932</c:v>
                </c:pt>
                <c:pt idx="1582">
                  <c:v>39.794011829562393</c:v>
                </c:pt>
                <c:pt idx="1583">
                  <c:v>39.794011829562393</c:v>
                </c:pt>
                <c:pt idx="1584">
                  <c:v>39.794011829562393</c:v>
                </c:pt>
                <c:pt idx="1585">
                  <c:v>39.493923280119425</c:v>
                </c:pt>
                <c:pt idx="1586">
                  <c:v>38.270867348110698</c:v>
                </c:pt>
                <c:pt idx="1587">
                  <c:v>38.342519696795662</c:v>
                </c:pt>
                <c:pt idx="1588">
                  <c:v>39.176099000803937</c:v>
                </c:pt>
                <c:pt idx="1589">
                  <c:v>39.780532674859288</c:v>
                </c:pt>
                <c:pt idx="1590">
                  <c:v>39.780532674859288</c:v>
                </c:pt>
                <c:pt idx="1591">
                  <c:v>39.780532674859288</c:v>
                </c:pt>
                <c:pt idx="1592">
                  <c:v>38.032499138624075</c:v>
                </c:pt>
                <c:pt idx="1593">
                  <c:v>37.704742850579969</c:v>
                </c:pt>
                <c:pt idx="1594">
                  <c:v>37.645150798208313</c:v>
                </c:pt>
                <c:pt idx="1595">
                  <c:v>36.551920408866408</c:v>
                </c:pt>
                <c:pt idx="1596">
                  <c:v>37.054196278856068</c:v>
                </c:pt>
                <c:pt idx="1597">
                  <c:v>37.054196278856068</c:v>
                </c:pt>
                <c:pt idx="1598">
                  <c:v>37.054196278856068</c:v>
                </c:pt>
                <c:pt idx="1599">
                  <c:v>38.248875043068772</c:v>
                </c:pt>
                <c:pt idx="1600">
                  <c:v>37.750855748248512</c:v>
                </c:pt>
                <c:pt idx="1601">
                  <c:v>39.360550591478102</c:v>
                </c:pt>
                <c:pt idx="1602">
                  <c:v>39.567703916389092</c:v>
                </c:pt>
                <c:pt idx="1603">
                  <c:v>39.035632020213605</c:v>
                </c:pt>
                <c:pt idx="1604">
                  <c:v>39.035632020213605</c:v>
                </c:pt>
                <c:pt idx="1605">
                  <c:v>39.035632020213605</c:v>
                </c:pt>
                <c:pt idx="1606">
                  <c:v>40.05862891926035</c:v>
                </c:pt>
                <c:pt idx="1607">
                  <c:v>39.854313311128962</c:v>
                </c:pt>
                <c:pt idx="1608">
                  <c:v>38.688011714712289</c:v>
                </c:pt>
                <c:pt idx="1609">
                  <c:v>39.476187550246919</c:v>
                </c:pt>
                <c:pt idx="1610">
                  <c:v>40.177813024003669</c:v>
                </c:pt>
                <c:pt idx="1611">
                  <c:v>40.177813024003669</c:v>
                </c:pt>
                <c:pt idx="1612">
                  <c:v>40.177813024003669</c:v>
                </c:pt>
                <c:pt idx="1613">
                  <c:v>40.614821408062468</c:v>
                </c:pt>
                <c:pt idx="1614">
                  <c:v>40.786503273228419</c:v>
                </c:pt>
                <c:pt idx="1615">
                  <c:v>40.517629608361069</c:v>
                </c:pt>
                <c:pt idx="1616">
                  <c:v>40.888661077294117</c:v>
                </c:pt>
                <c:pt idx="1617">
                  <c:v>41.717983806132978</c:v>
                </c:pt>
                <c:pt idx="1618">
                  <c:v>41.717983806132978</c:v>
                </c:pt>
                <c:pt idx="1619">
                  <c:v>41.717983806132978</c:v>
                </c:pt>
                <c:pt idx="1620">
                  <c:v>41.534241644653711</c:v>
                </c:pt>
                <c:pt idx="1621">
                  <c:v>41.58319225910185</c:v>
                </c:pt>
                <c:pt idx="1622">
                  <c:v>41.362559779487746</c:v>
                </c:pt>
                <c:pt idx="1623">
                  <c:v>41.313609165039608</c:v>
                </c:pt>
                <c:pt idx="1624">
                  <c:v>41.503736189272985</c:v>
                </c:pt>
                <c:pt idx="1625">
                  <c:v>41.503736189272985</c:v>
                </c:pt>
                <c:pt idx="1626">
                  <c:v>41.503736189272985</c:v>
                </c:pt>
                <c:pt idx="1627">
                  <c:v>41.823688756173183</c:v>
                </c:pt>
                <c:pt idx="1628">
                  <c:v>41.344114620420342</c:v>
                </c:pt>
                <c:pt idx="1629">
                  <c:v>41.572550821178353</c:v>
                </c:pt>
                <c:pt idx="1630">
                  <c:v>41.556943378890537</c:v>
                </c:pt>
                <c:pt idx="1631">
                  <c:v>41.87618651659583</c:v>
                </c:pt>
                <c:pt idx="1632">
                  <c:v>41.87618651659583</c:v>
                </c:pt>
                <c:pt idx="1633">
                  <c:v>41.87618651659583</c:v>
                </c:pt>
                <c:pt idx="1634">
                  <c:v>41.744232686344304</c:v>
                </c:pt>
                <c:pt idx="1635">
                  <c:v>41.785379579648549</c:v>
                </c:pt>
                <c:pt idx="1636">
                  <c:v>41.588867692661069</c:v>
                </c:pt>
                <c:pt idx="1637">
                  <c:v>41.588867692661069</c:v>
                </c:pt>
                <c:pt idx="1638">
                  <c:v>41.588867692661069</c:v>
                </c:pt>
                <c:pt idx="1639">
                  <c:v>41.588867692661069</c:v>
                </c:pt>
                <c:pt idx="1640">
                  <c:v>41.588867692661069</c:v>
                </c:pt>
                <c:pt idx="1641">
                  <c:v>41.588867692661069</c:v>
                </c:pt>
                <c:pt idx="1642">
                  <c:v>40.419728379464793</c:v>
                </c:pt>
                <c:pt idx="1643">
                  <c:v>41.510121052027095</c:v>
                </c:pt>
                <c:pt idx="1644">
                  <c:v>40.987271735385313</c:v>
                </c:pt>
                <c:pt idx="1645">
                  <c:v>40.422566096244388</c:v>
                </c:pt>
                <c:pt idx="1646">
                  <c:v>40.422566096244388</c:v>
                </c:pt>
                <c:pt idx="1647">
                  <c:v>40.422566096244388</c:v>
                </c:pt>
                <c:pt idx="1648">
                  <c:v>40.2139939129436</c:v>
                </c:pt>
                <c:pt idx="1649">
                  <c:v>39.716684047318239</c:v>
                </c:pt>
                <c:pt idx="1650">
                  <c:v>39.933059951762935</c:v>
                </c:pt>
                <c:pt idx="1651">
                  <c:v>39.758540369817368</c:v>
                </c:pt>
                <c:pt idx="1652">
                  <c:v>40.170718732054652</c:v>
                </c:pt>
                <c:pt idx="1653">
                  <c:v>40.170718732054652</c:v>
                </c:pt>
                <c:pt idx="1654">
                  <c:v>40.170718732054652</c:v>
                </c:pt>
                <c:pt idx="1655">
                  <c:v>40.555938784885704</c:v>
                </c:pt>
                <c:pt idx="1656">
                  <c:v>40.745356379924182</c:v>
                </c:pt>
                <c:pt idx="1657">
                  <c:v>41.78183243367404</c:v>
                </c:pt>
                <c:pt idx="1658">
                  <c:v>41.795311588377146</c:v>
                </c:pt>
                <c:pt idx="1659">
                  <c:v>41.481743884231058</c:v>
                </c:pt>
                <c:pt idx="1660">
                  <c:v>41.481743884231058</c:v>
                </c:pt>
                <c:pt idx="1661">
                  <c:v>41.481743884231058</c:v>
                </c:pt>
                <c:pt idx="1662">
                  <c:v>41.534241644653711</c:v>
                </c:pt>
                <c:pt idx="1663">
                  <c:v>42.276304582519792</c:v>
                </c:pt>
                <c:pt idx="1664">
                  <c:v>42.372077523831386</c:v>
                </c:pt>
                <c:pt idx="1665">
                  <c:v>42.499065349718606</c:v>
                </c:pt>
                <c:pt idx="1666">
                  <c:v>42.227353968071661</c:v>
                </c:pt>
                <c:pt idx="1667">
                  <c:v>42.227353968071661</c:v>
                </c:pt>
                <c:pt idx="1668">
                  <c:v>42.227353968071661</c:v>
                </c:pt>
                <c:pt idx="1669">
                  <c:v>42.013815780406567</c:v>
                </c:pt>
                <c:pt idx="1670">
                  <c:v>42.201105087860334</c:v>
                </c:pt>
                <c:pt idx="1671">
                  <c:v>43.014110945216487</c:v>
                </c:pt>
                <c:pt idx="1672">
                  <c:v>43.343286091650391</c:v>
                </c:pt>
                <c:pt idx="1673">
                  <c:v>43.011273228436878</c:v>
                </c:pt>
                <c:pt idx="1674">
                  <c:v>43.011273228436878</c:v>
                </c:pt>
                <c:pt idx="1675">
                  <c:v>43.011273228436878</c:v>
                </c:pt>
                <c:pt idx="1676">
                  <c:v>42.665781210520258</c:v>
                </c:pt>
                <c:pt idx="1677">
                  <c:v>42.040774089812786</c:v>
                </c:pt>
                <c:pt idx="1678">
                  <c:v>42.254312277477879</c:v>
                </c:pt>
                <c:pt idx="1679">
                  <c:v>42.254312277477879</c:v>
                </c:pt>
                <c:pt idx="1680">
                  <c:v>42.277723440909604</c:v>
                </c:pt>
                <c:pt idx="1681">
                  <c:v>42.277723440909604</c:v>
                </c:pt>
                <c:pt idx="1682">
                  <c:v>42.277723440909604</c:v>
                </c:pt>
                <c:pt idx="1683">
                  <c:v>42.110298150913046</c:v>
                </c:pt>
                <c:pt idx="1684">
                  <c:v>42.153573331801979</c:v>
                </c:pt>
                <c:pt idx="1685">
                  <c:v>42.496227632938989</c:v>
                </c:pt>
                <c:pt idx="1686">
                  <c:v>42.596257149419984</c:v>
                </c:pt>
                <c:pt idx="1687">
                  <c:v>42.374915240610981</c:v>
                </c:pt>
                <c:pt idx="1688">
                  <c:v>42.374915240610981</c:v>
                </c:pt>
                <c:pt idx="1689">
                  <c:v>42.374915240610981</c:v>
                </c:pt>
                <c:pt idx="1690">
                  <c:v>42.374915240610981</c:v>
                </c:pt>
                <c:pt idx="1691">
                  <c:v>42.374915240610981</c:v>
                </c:pt>
                <c:pt idx="1692">
                  <c:v>42.945296313311111</c:v>
                </c:pt>
                <c:pt idx="1693">
                  <c:v>42.18620707476741</c:v>
                </c:pt>
                <c:pt idx="1694">
                  <c:v>42.924722866658989</c:v>
                </c:pt>
                <c:pt idx="1695">
                  <c:v>42.924722866658989</c:v>
                </c:pt>
                <c:pt idx="1696">
                  <c:v>42.924722866658989</c:v>
                </c:pt>
                <c:pt idx="1697">
                  <c:v>42.947424600895815</c:v>
                </c:pt>
                <c:pt idx="1698">
                  <c:v>43.329806936947264</c:v>
                </c:pt>
                <c:pt idx="1699">
                  <c:v>43.957651774434346</c:v>
                </c:pt>
                <c:pt idx="1700">
                  <c:v>44.144231652693215</c:v>
                </c:pt>
                <c:pt idx="1701">
                  <c:v>43.900897438842293</c:v>
                </c:pt>
                <c:pt idx="1702">
                  <c:v>43.900897438842293</c:v>
                </c:pt>
                <c:pt idx="1703">
                  <c:v>43.900897438842293</c:v>
                </c:pt>
                <c:pt idx="1704">
                  <c:v>44.189635121166852</c:v>
                </c:pt>
                <c:pt idx="1705">
                  <c:v>43.793773630412282</c:v>
                </c:pt>
                <c:pt idx="1706">
                  <c:v>43.390817847708718</c:v>
                </c:pt>
                <c:pt idx="1707">
                  <c:v>43.368116113471892</c:v>
                </c:pt>
                <c:pt idx="1708">
                  <c:v>43.222683128517261</c:v>
                </c:pt>
                <c:pt idx="1709">
                  <c:v>43.222683128517261</c:v>
                </c:pt>
                <c:pt idx="1710">
                  <c:v>43.222683128517261</c:v>
                </c:pt>
                <c:pt idx="1711">
                  <c:v>43.637699207534148</c:v>
                </c:pt>
                <c:pt idx="1712">
                  <c:v>44.112307338922683</c:v>
                </c:pt>
                <c:pt idx="1713">
                  <c:v>44.176155966463746</c:v>
                </c:pt>
                <c:pt idx="1714">
                  <c:v>43.455375904444672</c:v>
                </c:pt>
                <c:pt idx="1715">
                  <c:v>42.904858849201766</c:v>
                </c:pt>
                <c:pt idx="1716">
                  <c:v>42.904858849201766</c:v>
                </c:pt>
                <c:pt idx="1717">
                  <c:v>42.904858849201766</c:v>
                </c:pt>
                <c:pt idx="1718">
                  <c:v>42.266372573791173</c:v>
                </c:pt>
                <c:pt idx="1719">
                  <c:v>41.66761433329502</c:v>
                </c:pt>
                <c:pt idx="1720">
                  <c:v>41.865545078672305</c:v>
                </c:pt>
                <c:pt idx="1721">
                  <c:v>40.809914436660137</c:v>
                </c:pt>
                <c:pt idx="1722">
                  <c:v>41.918042839094959</c:v>
                </c:pt>
                <c:pt idx="1723">
                  <c:v>41.918042839094959</c:v>
                </c:pt>
                <c:pt idx="1724">
                  <c:v>41.918042839094959</c:v>
                </c:pt>
                <c:pt idx="1725">
                  <c:v>42.832497071321896</c:v>
                </c:pt>
                <c:pt idx="1726">
                  <c:v>42.792059607212565</c:v>
                </c:pt>
                <c:pt idx="1727">
                  <c:v>43.0566766969105</c:v>
                </c:pt>
                <c:pt idx="1728">
                  <c:v>43.341867233260572</c:v>
                </c:pt>
                <c:pt idx="1729">
                  <c:v>42.009559205237139</c:v>
                </c:pt>
                <c:pt idx="1730">
                  <c:v>42.009559205237139</c:v>
                </c:pt>
                <c:pt idx="1731">
                  <c:v>42.009559205237139</c:v>
                </c:pt>
                <c:pt idx="1732">
                  <c:v>40.651002297002385</c:v>
                </c:pt>
                <c:pt idx="1733">
                  <c:v>41.668323762489926</c:v>
                </c:pt>
                <c:pt idx="1734">
                  <c:v>42.543049959802431</c:v>
                </c:pt>
                <c:pt idx="1735">
                  <c:v>42.76864844378084</c:v>
                </c:pt>
                <c:pt idx="1736">
                  <c:v>43.386561272539311</c:v>
                </c:pt>
                <c:pt idx="1737">
                  <c:v>43.386561272539311</c:v>
                </c:pt>
                <c:pt idx="1738">
                  <c:v>43.386561272539311</c:v>
                </c:pt>
                <c:pt idx="1739">
                  <c:v>43.175151372458913</c:v>
                </c:pt>
                <c:pt idx="1740">
                  <c:v>42.37349638222117</c:v>
                </c:pt>
                <c:pt idx="1741">
                  <c:v>42.013815780406546</c:v>
                </c:pt>
                <c:pt idx="1742">
                  <c:v>43.138970483518982</c:v>
                </c:pt>
                <c:pt idx="1743">
                  <c:v>43.297882623176733</c:v>
                </c:pt>
                <c:pt idx="1744">
                  <c:v>43.297882623176733</c:v>
                </c:pt>
                <c:pt idx="1745">
                  <c:v>43.297882623176733</c:v>
                </c:pt>
                <c:pt idx="1746">
                  <c:v>43.988866659009958</c:v>
                </c:pt>
                <c:pt idx="1747">
                  <c:v>43.792354772022478</c:v>
                </c:pt>
                <c:pt idx="1748">
                  <c:v>43.948429194900619</c:v>
                </c:pt>
                <c:pt idx="1749">
                  <c:v>44.059100149305117</c:v>
                </c:pt>
                <c:pt idx="1750">
                  <c:v>44.152035373837109</c:v>
                </c:pt>
                <c:pt idx="1751">
                  <c:v>44.152035373837109</c:v>
                </c:pt>
                <c:pt idx="1752">
                  <c:v>44.152035373837109</c:v>
                </c:pt>
                <c:pt idx="1753">
                  <c:v>43.935659469392405</c:v>
                </c:pt>
                <c:pt idx="1754">
                  <c:v>44.332230389341873</c:v>
                </c:pt>
                <c:pt idx="1755">
                  <c:v>44.309528655105062</c:v>
                </c:pt>
                <c:pt idx="1756">
                  <c:v>44.816770529459021</c:v>
                </c:pt>
                <c:pt idx="1757">
                  <c:v>44.357060411163395</c:v>
                </c:pt>
                <c:pt idx="1758">
                  <c:v>44.357060411163395</c:v>
                </c:pt>
                <c:pt idx="1759">
                  <c:v>44.357060411163395</c:v>
                </c:pt>
                <c:pt idx="1760">
                  <c:v>43.882452279774853</c:v>
                </c:pt>
                <c:pt idx="1761">
                  <c:v>44.005892959687571</c:v>
                </c:pt>
                <c:pt idx="1762">
                  <c:v>44.203114275869957</c:v>
                </c:pt>
                <c:pt idx="1763">
                  <c:v>43.674589525668964</c:v>
                </c:pt>
                <c:pt idx="1764">
                  <c:v>43.461760767198768</c:v>
                </c:pt>
                <c:pt idx="1765">
                  <c:v>43.461760767198768</c:v>
                </c:pt>
                <c:pt idx="1766">
                  <c:v>43.461760767198768</c:v>
                </c:pt>
                <c:pt idx="1767">
                  <c:v>43.314199494659434</c:v>
                </c:pt>
                <c:pt idx="1768">
                  <c:v>42.901311703227258</c:v>
                </c:pt>
                <c:pt idx="1769">
                  <c:v>42.668618927299846</c:v>
                </c:pt>
                <c:pt idx="1770">
                  <c:v>43.148902492247586</c:v>
                </c:pt>
                <c:pt idx="1771">
                  <c:v>43.472402205122279</c:v>
                </c:pt>
                <c:pt idx="1772">
                  <c:v>43.472402205122279</c:v>
                </c:pt>
                <c:pt idx="1773">
                  <c:v>43.472402205122279</c:v>
                </c:pt>
                <c:pt idx="1774">
                  <c:v>43.615706902492214</c:v>
                </c:pt>
                <c:pt idx="1775">
                  <c:v>44.183959687607633</c:v>
                </c:pt>
                <c:pt idx="1776">
                  <c:v>43.981772367060955</c:v>
                </c:pt>
                <c:pt idx="1777">
                  <c:v>44.081801883541949</c:v>
                </c:pt>
                <c:pt idx="1778">
                  <c:v>44.073288733203142</c:v>
                </c:pt>
                <c:pt idx="1779">
                  <c:v>44.073288733203142</c:v>
                </c:pt>
                <c:pt idx="1780">
                  <c:v>44.073288733203142</c:v>
                </c:pt>
                <c:pt idx="1781">
                  <c:v>43.917923739519892</c:v>
                </c:pt>
                <c:pt idx="1782">
                  <c:v>43.82356965659811</c:v>
                </c:pt>
                <c:pt idx="1783">
                  <c:v>43.058804984495204</c:v>
                </c:pt>
                <c:pt idx="1784">
                  <c:v>43.249641437923472</c:v>
                </c:pt>
                <c:pt idx="1785">
                  <c:v>43.454666475249759</c:v>
                </c:pt>
                <c:pt idx="1786">
                  <c:v>43.454666475249759</c:v>
                </c:pt>
                <c:pt idx="1787">
                  <c:v>43.454666475249759</c:v>
                </c:pt>
                <c:pt idx="1788">
                  <c:v>43.446153324910952</c:v>
                </c:pt>
                <c:pt idx="1789">
                  <c:v>43.844143103250225</c:v>
                </c:pt>
                <c:pt idx="1790">
                  <c:v>43.933531181807709</c:v>
                </c:pt>
                <c:pt idx="1791">
                  <c:v>43.749079591133537</c:v>
                </c:pt>
                <c:pt idx="1792">
                  <c:v>43.871810841851357</c:v>
                </c:pt>
                <c:pt idx="1793">
                  <c:v>43.871810841851357</c:v>
                </c:pt>
                <c:pt idx="1794">
                  <c:v>43.871810841851357</c:v>
                </c:pt>
                <c:pt idx="1795">
                  <c:v>43.749079591133544</c:v>
                </c:pt>
                <c:pt idx="1796">
                  <c:v>44.132880785574798</c:v>
                </c:pt>
                <c:pt idx="1797">
                  <c:v>43.908701159986187</c:v>
                </c:pt>
                <c:pt idx="1798">
                  <c:v>43.720702423337514</c:v>
                </c:pt>
                <c:pt idx="1799">
                  <c:v>44.205242563454661</c:v>
                </c:pt>
                <c:pt idx="1800">
                  <c:v>44.205242563454661</c:v>
                </c:pt>
                <c:pt idx="1801">
                  <c:v>44.205242563454661</c:v>
                </c:pt>
                <c:pt idx="1802">
                  <c:v>44.484757666245514</c:v>
                </c:pt>
                <c:pt idx="1803">
                  <c:v>44.15558251981161</c:v>
                </c:pt>
                <c:pt idx="1804">
                  <c:v>44.438644768576971</c:v>
                </c:pt>
                <c:pt idx="1805">
                  <c:v>44.334358676926577</c:v>
                </c:pt>
                <c:pt idx="1806">
                  <c:v>43.951266911680221</c:v>
                </c:pt>
                <c:pt idx="1807">
                  <c:v>43.951266911680221</c:v>
                </c:pt>
                <c:pt idx="1808">
                  <c:v>43.951266911680221</c:v>
                </c:pt>
                <c:pt idx="1809">
                  <c:v>43.168057080509904</c:v>
                </c:pt>
                <c:pt idx="1810">
                  <c:v>42.785674744458454</c:v>
                </c:pt>
                <c:pt idx="1811">
                  <c:v>42.748784426323624</c:v>
                </c:pt>
                <c:pt idx="1812">
                  <c:v>42.340153210060848</c:v>
                </c:pt>
                <c:pt idx="1813">
                  <c:v>42.654430343401835</c:v>
                </c:pt>
                <c:pt idx="1814">
                  <c:v>42.654430343401835</c:v>
                </c:pt>
                <c:pt idx="1815">
                  <c:v>42.654430343401835</c:v>
                </c:pt>
                <c:pt idx="1816">
                  <c:v>43.087891581486133</c:v>
                </c:pt>
                <c:pt idx="1817">
                  <c:v>43.215588836568251</c:v>
                </c:pt>
                <c:pt idx="1818">
                  <c:v>43.279437464109314</c:v>
                </c:pt>
                <c:pt idx="1819">
                  <c:v>43.86542597909726</c:v>
                </c:pt>
                <c:pt idx="1820">
                  <c:v>43.827826231767524</c:v>
                </c:pt>
                <c:pt idx="1821">
                  <c:v>43.827826231767524</c:v>
                </c:pt>
                <c:pt idx="1822">
                  <c:v>43.827826231767524</c:v>
                </c:pt>
                <c:pt idx="1823">
                  <c:v>43.207075686229452</c:v>
                </c:pt>
                <c:pt idx="1824">
                  <c:v>42.905568278396672</c:v>
                </c:pt>
                <c:pt idx="1825">
                  <c:v>43.234743424830576</c:v>
                </c:pt>
                <c:pt idx="1826">
                  <c:v>44.203114275869979</c:v>
                </c:pt>
                <c:pt idx="1827">
                  <c:v>44.175446537268854</c:v>
                </c:pt>
                <c:pt idx="1828">
                  <c:v>44.175446537268854</c:v>
                </c:pt>
                <c:pt idx="1829">
                  <c:v>44.175446537268854</c:v>
                </c:pt>
                <c:pt idx="1830">
                  <c:v>44.171899391294346</c:v>
                </c:pt>
                <c:pt idx="1831">
                  <c:v>44.754340760307791</c:v>
                </c:pt>
                <c:pt idx="1832">
                  <c:v>44.816061100264143</c:v>
                </c:pt>
                <c:pt idx="1833">
                  <c:v>44.918928333524732</c:v>
                </c:pt>
                <c:pt idx="1834">
                  <c:v>44.650764097852289</c:v>
                </c:pt>
                <c:pt idx="1835">
                  <c:v>44.650764097852289</c:v>
                </c:pt>
                <c:pt idx="1836">
                  <c:v>44.650764097852289</c:v>
                </c:pt>
                <c:pt idx="1837">
                  <c:v>45.371544159871348</c:v>
                </c:pt>
                <c:pt idx="1838">
                  <c:v>45.300601240381283</c:v>
                </c:pt>
                <c:pt idx="1839">
                  <c:v>45.055138738945658</c:v>
                </c:pt>
                <c:pt idx="1840">
                  <c:v>44.738733318019968</c:v>
                </c:pt>
                <c:pt idx="1841">
                  <c:v>45.227530033306522</c:v>
                </c:pt>
                <c:pt idx="1842">
                  <c:v>45.227530033306522</c:v>
                </c:pt>
                <c:pt idx="1843">
                  <c:v>45.227530033306522</c:v>
                </c:pt>
                <c:pt idx="1844">
                  <c:v>44.843728838865268</c:v>
                </c:pt>
                <c:pt idx="1845">
                  <c:v>44.956528080854468</c:v>
                </c:pt>
                <c:pt idx="1846">
                  <c:v>45.271514643390361</c:v>
                </c:pt>
                <c:pt idx="1847">
                  <c:v>45.283574939703669</c:v>
                </c:pt>
                <c:pt idx="1848">
                  <c:v>45.512011140461688</c:v>
                </c:pt>
                <c:pt idx="1849">
                  <c:v>45.512011140461688</c:v>
                </c:pt>
                <c:pt idx="1850">
                  <c:v>45.512011140461688</c:v>
                </c:pt>
                <c:pt idx="1851">
                  <c:v>45.548192029401619</c:v>
                </c:pt>
                <c:pt idx="1852">
                  <c:v>45.823450557023072</c:v>
                </c:pt>
                <c:pt idx="1853">
                  <c:v>44.938082921787057</c:v>
                </c:pt>
                <c:pt idx="1854">
                  <c:v>45.59998036062936</c:v>
                </c:pt>
                <c:pt idx="1855">
                  <c:v>45.562380613299624</c:v>
                </c:pt>
                <c:pt idx="1856">
                  <c:v>45.562380613299624</c:v>
                </c:pt>
                <c:pt idx="1857">
                  <c:v>45.562380613299624</c:v>
                </c:pt>
                <c:pt idx="1858">
                  <c:v>45.275771218559761</c:v>
                </c:pt>
                <c:pt idx="1859">
                  <c:v>45.375091305845856</c:v>
                </c:pt>
                <c:pt idx="1860">
                  <c:v>44.459927644424013</c:v>
                </c:pt>
                <c:pt idx="1861">
                  <c:v>44.698295853910629</c:v>
                </c:pt>
                <c:pt idx="1862">
                  <c:v>44.40317330883196</c:v>
                </c:pt>
                <c:pt idx="1863">
                  <c:v>44.40317330883196</c:v>
                </c:pt>
                <c:pt idx="1864">
                  <c:v>44.40317330883196</c:v>
                </c:pt>
                <c:pt idx="1865">
                  <c:v>44.913962329160434</c:v>
                </c:pt>
                <c:pt idx="1866">
                  <c:v>45.080678189962093</c:v>
                </c:pt>
                <c:pt idx="1867">
                  <c:v>45.250231767543347</c:v>
                </c:pt>
                <c:pt idx="1868">
                  <c:v>45.828416561387378</c:v>
                </c:pt>
                <c:pt idx="1869">
                  <c:v>45.423332491099103</c:v>
                </c:pt>
                <c:pt idx="1870">
                  <c:v>45.423332491099103</c:v>
                </c:pt>
                <c:pt idx="1871">
                  <c:v>45.423332491099103</c:v>
                </c:pt>
                <c:pt idx="1872">
                  <c:v>45.320465257838514</c:v>
                </c:pt>
                <c:pt idx="1873">
                  <c:v>45.871691742276326</c:v>
                </c:pt>
                <c:pt idx="1874">
                  <c:v>45.775918800964739</c:v>
                </c:pt>
                <c:pt idx="1875">
                  <c:v>45.95682324566441</c:v>
                </c:pt>
                <c:pt idx="1876">
                  <c:v>45.948310095325603</c:v>
                </c:pt>
                <c:pt idx="1877">
                  <c:v>45.948310095325603</c:v>
                </c:pt>
                <c:pt idx="1878">
                  <c:v>45.948310095325603</c:v>
                </c:pt>
                <c:pt idx="1879">
                  <c:v>46.352684736418979</c:v>
                </c:pt>
                <c:pt idx="1880">
                  <c:v>46.613754680142414</c:v>
                </c:pt>
                <c:pt idx="1881">
                  <c:v>46.606660388193411</c:v>
                </c:pt>
                <c:pt idx="1882">
                  <c:v>46.719459630182612</c:v>
                </c:pt>
                <c:pt idx="1883">
                  <c:v>46.711655909038711</c:v>
                </c:pt>
                <c:pt idx="1884">
                  <c:v>46.711655909038711</c:v>
                </c:pt>
                <c:pt idx="1885">
                  <c:v>46.711655909038711</c:v>
                </c:pt>
                <c:pt idx="1886">
                  <c:v>46.457680257264272</c:v>
                </c:pt>
                <c:pt idx="1887">
                  <c:v>46.09870908464454</c:v>
                </c:pt>
                <c:pt idx="1888">
                  <c:v>46.583249224761687</c:v>
                </c:pt>
                <c:pt idx="1889">
                  <c:v>47.020257608820486</c:v>
                </c:pt>
                <c:pt idx="1890">
                  <c:v>46.64851671069254</c:v>
                </c:pt>
                <c:pt idx="1891">
                  <c:v>46.64851671069254</c:v>
                </c:pt>
                <c:pt idx="1892">
                  <c:v>46.64851671069254</c:v>
                </c:pt>
                <c:pt idx="1893">
                  <c:v>47.08126851958194</c:v>
                </c:pt>
                <c:pt idx="1894">
                  <c:v>47.042249913862406</c:v>
                </c:pt>
                <c:pt idx="1895">
                  <c:v>47.494156311014123</c:v>
                </c:pt>
                <c:pt idx="1896">
                  <c:v>48.089367405535768</c:v>
                </c:pt>
                <c:pt idx="1897">
                  <c:v>48.456142299299408</c:v>
                </c:pt>
                <c:pt idx="1898">
                  <c:v>48.456142299299408</c:v>
                </c:pt>
                <c:pt idx="1899">
                  <c:v>48.456142299299408</c:v>
                </c:pt>
                <c:pt idx="1900">
                  <c:v>48.673937062133909</c:v>
                </c:pt>
                <c:pt idx="1901">
                  <c:v>48.491613759044441</c:v>
                </c:pt>
                <c:pt idx="1902">
                  <c:v>48.30645273917537</c:v>
                </c:pt>
                <c:pt idx="1903">
                  <c:v>47.905625244056502</c:v>
                </c:pt>
                <c:pt idx="1904">
                  <c:v>48.267434133455836</c:v>
                </c:pt>
                <c:pt idx="1905">
                  <c:v>48.267434133455836</c:v>
                </c:pt>
                <c:pt idx="1906">
                  <c:v>48.267434133455836</c:v>
                </c:pt>
                <c:pt idx="1907">
                  <c:v>48.148250028712532</c:v>
                </c:pt>
                <c:pt idx="1908">
                  <c:v>48.106393706213389</c:v>
                </c:pt>
                <c:pt idx="1909">
                  <c:v>47.929745836683125</c:v>
                </c:pt>
                <c:pt idx="1910">
                  <c:v>48.102137131043982</c:v>
                </c:pt>
                <c:pt idx="1911">
                  <c:v>48.222740094177098</c:v>
                </c:pt>
                <c:pt idx="1912">
                  <c:v>48.222740094177098</c:v>
                </c:pt>
                <c:pt idx="1913">
                  <c:v>48.222740094177098</c:v>
                </c:pt>
                <c:pt idx="1914">
                  <c:v>48.222740094177098</c:v>
                </c:pt>
                <c:pt idx="1915">
                  <c:v>48.500126909383255</c:v>
                </c:pt>
                <c:pt idx="1916">
                  <c:v>48.639175031583783</c:v>
                </c:pt>
                <c:pt idx="1917">
                  <c:v>48.692382221201335</c:v>
                </c:pt>
                <c:pt idx="1918">
                  <c:v>48.515734351671071</c:v>
                </c:pt>
                <c:pt idx="1919">
                  <c:v>48.515734351671071</c:v>
                </c:pt>
                <c:pt idx="1920">
                  <c:v>48.515734351671071</c:v>
                </c:pt>
                <c:pt idx="1921">
                  <c:v>49.057738256575171</c:v>
                </c:pt>
                <c:pt idx="1922">
                  <c:v>49.23296726771563</c:v>
                </c:pt>
                <c:pt idx="1923">
                  <c:v>49.101722866659003</c:v>
                </c:pt>
                <c:pt idx="1924">
                  <c:v>49.391879407373381</c:v>
                </c:pt>
                <c:pt idx="1925">
                  <c:v>49.274823590214773</c:v>
                </c:pt>
                <c:pt idx="1926">
                  <c:v>49.274823590214773</c:v>
                </c:pt>
                <c:pt idx="1927">
                  <c:v>49.274823590214773</c:v>
                </c:pt>
                <c:pt idx="1928">
                  <c:v>48.916561846789939</c:v>
                </c:pt>
                <c:pt idx="1929">
                  <c:v>48.967640748822788</c:v>
                </c:pt>
                <c:pt idx="1930">
                  <c:v>49.298944182841389</c:v>
                </c:pt>
                <c:pt idx="1931">
                  <c:v>49.158477202251056</c:v>
                </c:pt>
                <c:pt idx="1932">
                  <c:v>49.393298265763171</c:v>
                </c:pt>
                <c:pt idx="1933">
                  <c:v>49.393298265763171</c:v>
                </c:pt>
                <c:pt idx="1934">
                  <c:v>49.393298265763171</c:v>
                </c:pt>
                <c:pt idx="1935">
                  <c:v>49.057028827380257</c:v>
                </c:pt>
                <c:pt idx="1936">
                  <c:v>48.941391868611447</c:v>
                </c:pt>
                <c:pt idx="1937">
                  <c:v>49.181178936487868</c:v>
                </c:pt>
                <c:pt idx="1938">
                  <c:v>49.573493281267929</c:v>
                </c:pt>
                <c:pt idx="1939">
                  <c:v>49.720345124612365</c:v>
                </c:pt>
                <c:pt idx="1940">
                  <c:v>49.720345124612365</c:v>
                </c:pt>
                <c:pt idx="1941">
                  <c:v>49.720345124612365</c:v>
                </c:pt>
                <c:pt idx="1942">
                  <c:v>49.459275180888923</c:v>
                </c:pt>
                <c:pt idx="1943">
                  <c:v>49.765039163891103</c:v>
                </c:pt>
                <c:pt idx="1944">
                  <c:v>50.290016768117589</c:v>
                </c:pt>
                <c:pt idx="1945">
                  <c:v>50.331873090616732</c:v>
                </c:pt>
                <c:pt idx="1946">
                  <c:v>50.226168140576533</c:v>
                </c:pt>
                <c:pt idx="1947">
                  <c:v>50.226168140576533</c:v>
                </c:pt>
                <c:pt idx="1948">
                  <c:v>50.226168140576533</c:v>
                </c:pt>
                <c:pt idx="1949">
                  <c:v>49.51815780406568</c:v>
                </c:pt>
                <c:pt idx="1950">
                  <c:v>49.171956356954162</c:v>
                </c:pt>
                <c:pt idx="1951">
                  <c:v>49.786322039738124</c:v>
                </c:pt>
                <c:pt idx="1952">
                  <c:v>49.237933272079921</c:v>
                </c:pt>
                <c:pt idx="1953">
                  <c:v>49.80192948202594</c:v>
                </c:pt>
                <c:pt idx="1954">
                  <c:v>49.80192948202594</c:v>
                </c:pt>
                <c:pt idx="1955">
                  <c:v>49.80192948202594</c:v>
                </c:pt>
                <c:pt idx="1956">
                  <c:v>49.77213345584012</c:v>
                </c:pt>
                <c:pt idx="1957">
                  <c:v>49.768586309865611</c:v>
                </c:pt>
                <c:pt idx="1958">
                  <c:v>49.496165499023768</c:v>
                </c:pt>
                <c:pt idx="1959">
                  <c:v>49.270567015045359</c:v>
                </c:pt>
                <c:pt idx="1960">
                  <c:v>49.390460548983569</c:v>
                </c:pt>
                <c:pt idx="1961">
                  <c:v>49.390460548983569</c:v>
                </c:pt>
                <c:pt idx="1962">
                  <c:v>49.390460548983569</c:v>
                </c:pt>
                <c:pt idx="1963">
                  <c:v>49.867196967956808</c:v>
                </c:pt>
                <c:pt idx="1964">
                  <c:v>49.735243137705289</c:v>
                </c:pt>
                <c:pt idx="1965">
                  <c:v>49.259216147926956</c:v>
                </c:pt>
                <c:pt idx="1966">
                  <c:v>49.147835764327553</c:v>
                </c:pt>
                <c:pt idx="1967">
                  <c:v>48.782479728953717</c:v>
                </c:pt>
                <c:pt idx="1968">
                  <c:v>48.782479728953717</c:v>
                </c:pt>
                <c:pt idx="1969">
                  <c:v>48.782479728953717</c:v>
                </c:pt>
                <c:pt idx="1970">
                  <c:v>49.057028827380279</c:v>
                </c:pt>
                <c:pt idx="1971">
                  <c:v>49.63095704605491</c:v>
                </c:pt>
                <c:pt idx="1972">
                  <c:v>49.276242448604584</c:v>
                </c:pt>
                <c:pt idx="1973">
                  <c:v>49.184016653267491</c:v>
                </c:pt>
                <c:pt idx="1974">
                  <c:v>48.755521419547499</c:v>
                </c:pt>
                <c:pt idx="1975">
                  <c:v>48.755521419547499</c:v>
                </c:pt>
                <c:pt idx="1976">
                  <c:v>48.755521419547499</c:v>
                </c:pt>
                <c:pt idx="1977">
                  <c:v>48.789574020902734</c:v>
                </c:pt>
                <c:pt idx="1978">
                  <c:v>48.969769036407499</c:v>
                </c:pt>
                <c:pt idx="1979">
                  <c:v>49.435864017457234</c:v>
                </c:pt>
                <c:pt idx="1980">
                  <c:v>49.629538187665112</c:v>
                </c:pt>
                <c:pt idx="1981">
                  <c:v>49.08895314115081</c:v>
                </c:pt>
                <c:pt idx="1982">
                  <c:v>49.08895314115081</c:v>
                </c:pt>
                <c:pt idx="1983">
                  <c:v>49.08895314115081</c:v>
                </c:pt>
                <c:pt idx="1984">
                  <c:v>49.015172504881136</c:v>
                </c:pt>
                <c:pt idx="1985">
                  <c:v>49.158477202251063</c:v>
                </c:pt>
                <c:pt idx="1986">
                  <c:v>49.049225106236364</c:v>
                </c:pt>
                <c:pt idx="1987">
                  <c:v>48.91585241759504</c:v>
                </c:pt>
                <c:pt idx="1988">
                  <c:v>49.563561272539346</c:v>
                </c:pt>
                <c:pt idx="1989">
                  <c:v>49.563561272539346</c:v>
                </c:pt>
                <c:pt idx="1990">
                  <c:v>49.563561272539346</c:v>
                </c:pt>
                <c:pt idx="1991">
                  <c:v>49.670685080969349</c:v>
                </c:pt>
                <c:pt idx="1992">
                  <c:v>49.280499023773984</c:v>
                </c:pt>
                <c:pt idx="1993">
                  <c:v>49.491199494659483</c:v>
                </c:pt>
                <c:pt idx="1994">
                  <c:v>49.865068680372133</c:v>
                </c:pt>
                <c:pt idx="1995">
                  <c:v>49.936011599862198</c:v>
                </c:pt>
                <c:pt idx="1996">
                  <c:v>49.936011599862198</c:v>
                </c:pt>
                <c:pt idx="1997">
                  <c:v>49.936011599862198</c:v>
                </c:pt>
                <c:pt idx="1998">
                  <c:v>49.912600436430473</c:v>
                </c:pt>
                <c:pt idx="1999">
                  <c:v>49.870034684736446</c:v>
                </c:pt>
                <c:pt idx="2000">
                  <c:v>49.203880670724736</c:v>
                </c:pt>
                <c:pt idx="2001">
                  <c:v>49.23154840932586</c:v>
                </c:pt>
                <c:pt idx="2002">
                  <c:v>49.20600895830944</c:v>
                </c:pt>
                <c:pt idx="2003">
                  <c:v>49.20600895830944</c:v>
                </c:pt>
                <c:pt idx="2004">
                  <c:v>49.20600895830944</c:v>
                </c:pt>
                <c:pt idx="2005">
                  <c:v>48.224158952566931</c:v>
                </c:pt>
                <c:pt idx="2006">
                  <c:v>48.641303319168514</c:v>
                </c:pt>
                <c:pt idx="2007">
                  <c:v>48.694510508786067</c:v>
                </c:pt>
                <c:pt idx="2008">
                  <c:v>49.071217411278319</c:v>
                </c:pt>
                <c:pt idx="2009">
                  <c:v>48.798087171241569</c:v>
                </c:pt>
                <c:pt idx="2010">
                  <c:v>48.798087171241569</c:v>
                </c:pt>
                <c:pt idx="2011">
                  <c:v>48.798087171241569</c:v>
                </c:pt>
                <c:pt idx="2012">
                  <c:v>49.093209716320231</c:v>
                </c:pt>
                <c:pt idx="2013">
                  <c:v>48.740623406454603</c:v>
                </c:pt>
                <c:pt idx="2014">
                  <c:v>49.169828069369508</c:v>
                </c:pt>
                <c:pt idx="2015">
                  <c:v>49.091081428735535</c:v>
                </c:pt>
                <c:pt idx="2016">
                  <c:v>49.124424600895864</c:v>
                </c:pt>
                <c:pt idx="2017">
                  <c:v>49.124424600895864</c:v>
                </c:pt>
                <c:pt idx="2018">
                  <c:v>49.124424600895864</c:v>
                </c:pt>
                <c:pt idx="2019">
                  <c:v>49.269148156655589</c:v>
                </c:pt>
                <c:pt idx="2020">
                  <c:v>49.156348914666381</c:v>
                </c:pt>
                <c:pt idx="2021">
                  <c:v>49.437992305041945</c:v>
                </c:pt>
                <c:pt idx="2022">
                  <c:v>49.437992305041945</c:v>
                </c:pt>
                <c:pt idx="2023">
                  <c:v>49.437992305041945</c:v>
                </c:pt>
                <c:pt idx="2024">
                  <c:v>49.437992305041945</c:v>
                </c:pt>
                <c:pt idx="2025">
                  <c:v>49.437992305041945</c:v>
                </c:pt>
                <c:pt idx="2026">
                  <c:v>49.437992305041945</c:v>
                </c:pt>
                <c:pt idx="2027">
                  <c:v>48.622858160101096</c:v>
                </c:pt>
                <c:pt idx="2028">
                  <c:v>48.414995405995207</c:v>
                </c:pt>
                <c:pt idx="2029">
                  <c:v>48.48664775468017</c:v>
                </c:pt>
                <c:pt idx="2030">
                  <c:v>48.455432870104538</c:v>
                </c:pt>
                <c:pt idx="2031">
                  <c:v>48.455432870104538</c:v>
                </c:pt>
                <c:pt idx="2032">
                  <c:v>48.455432870104538</c:v>
                </c:pt>
                <c:pt idx="2033">
                  <c:v>49.052772252210893</c:v>
                </c:pt>
                <c:pt idx="2034">
                  <c:v>49.555048122200546</c:v>
                </c:pt>
                <c:pt idx="2035">
                  <c:v>49.553629263810748</c:v>
                </c:pt>
                <c:pt idx="2036">
                  <c:v>49.56994613529347</c:v>
                </c:pt>
                <c:pt idx="2037">
                  <c:v>49.4940372114391</c:v>
                </c:pt>
                <c:pt idx="2038">
                  <c:v>49.4940372114391</c:v>
                </c:pt>
                <c:pt idx="2039">
                  <c:v>49.4940372114391</c:v>
                </c:pt>
                <c:pt idx="2040">
                  <c:v>49.4940372114391</c:v>
                </c:pt>
                <c:pt idx="2041">
                  <c:v>50.006954519352277</c:v>
                </c:pt>
                <c:pt idx="2042">
                  <c:v>49.928917307913203</c:v>
                </c:pt>
                <c:pt idx="2043">
                  <c:v>49.657915355461157</c:v>
                </c:pt>
                <c:pt idx="2044">
                  <c:v>50.341805099345386</c:v>
                </c:pt>
                <c:pt idx="2045">
                  <c:v>50.341805099345386</c:v>
                </c:pt>
                <c:pt idx="2046">
                  <c:v>50.341805099345386</c:v>
                </c:pt>
                <c:pt idx="2047">
                  <c:v>50.578754450442204</c:v>
                </c:pt>
                <c:pt idx="2048">
                  <c:v>51.043430573102135</c:v>
                </c:pt>
                <c:pt idx="2049">
                  <c:v>51.02072883886531</c:v>
                </c:pt>
                <c:pt idx="2050">
                  <c:v>50.946238773400744</c:v>
                </c:pt>
                <c:pt idx="2051">
                  <c:v>51.159776961065837</c:v>
                </c:pt>
                <c:pt idx="2052">
                  <c:v>51.159776961065837</c:v>
                </c:pt>
                <c:pt idx="2053">
                  <c:v>51.159776961065837</c:v>
                </c:pt>
                <c:pt idx="2054">
                  <c:v>51.40949603767087</c:v>
                </c:pt>
                <c:pt idx="2055">
                  <c:v>51.66701883541981</c:v>
                </c:pt>
                <c:pt idx="2056">
                  <c:v>51.66701883541981</c:v>
                </c:pt>
                <c:pt idx="2057">
                  <c:v>50.558890432984988</c:v>
                </c:pt>
                <c:pt idx="2058">
                  <c:v>51.270447915470349</c:v>
                </c:pt>
                <c:pt idx="2059">
                  <c:v>51.270447915470349</c:v>
                </c:pt>
                <c:pt idx="2060">
                  <c:v>51.270447915470349</c:v>
                </c:pt>
                <c:pt idx="2061">
                  <c:v>51.345647410129814</c:v>
                </c:pt>
                <c:pt idx="2062">
                  <c:v>51.184606982887367</c:v>
                </c:pt>
                <c:pt idx="2063">
                  <c:v>51.501012403813064</c:v>
                </c:pt>
                <c:pt idx="2064">
                  <c:v>51.501012403813064</c:v>
                </c:pt>
                <c:pt idx="2065">
                  <c:v>50.989513954289691</c:v>
                </c:pt>
                <c:pt idx="2066">
                  <c:v>50.989513954289691</c:v>
                </c:pt>
                <c:pt idx="2067">
                  <c:v>50.989513954289691</c:v>
                </c:pt>
                <c:pt idx="2068">
                  <c:v>50.951204777765057</c:v>
                </c:pt>
                <c:pt idx="2069">
                  <c:v>50.959717928103863</c:v>
                </c:pt>
                <c:pt idx="2070">
                  <c:v>50.393593430573141</c:v>
                </c:pt>
                <c:pt idx="2071">
                  <c:v>50.595780751119825</c:v>
                </c:pt>
                <c:pt idx="2072">
                  <c:v>50.517034110485852</c:v>
                </c:pt>
                <c:pt idx="2073">
                  <c:v>50.517034110485852</c:v>
                </c:pt>
                <c:pt idx="2074">
                  <c:v>50.517034110485852</c:v>
                </c:pt>
                <c:pt idx="2075">
                  <c:v>50.517034110485852</c:v>
                </c:pt>
                <c:pt idx="2076">
                  <c:v>50.324778798667772</c:v>
                </c:pt>
                <c:pt idx="2077">
                  <c:v>50.444672332605975</c:v>
                </c:pt>
                <c:pt idx="2078">
                  <c:v>50.011211094521684</c:v>
                </c:pt>
                <c:pt idx="2079">
                  <c:v>50.133942345239497</c:v>
                </c:pt>
                <c:pt idx="2080">
                  <c:v>50.133942345239497</c:v>
                </c:pt>
                <c:pt idx="2081">
                  <c:v>50.133942345239497</c:v>
                </c:pt>
                <c:pt idx="2082">
                  <c:v>50.504973814172537</c:v>
                </c:pt>
                <c:pt idx="2083">
                  <c:v>50.373729413115917</c:v>
                </c:pt>
                <c:pt idx="2084">
                  <c:v>50.2495793040083</c:v>
                </c:pt>
                <c:pt idx="2085">
                  <c:v>49.432316871482747</c:v>
                </c:pt>
                <c:pt idx="2086">
                  <c:v>49.600451590674204</c:v>
                </c:pt>
                <c:pt idx="2087">
                  <c:v>49.600451590674204</c:v>
                </c:pt>
                <c:pt idx="2088">
                  <c:v>49.600451590674204</c:v>
                </c:pt>
                <c:pt idx="2089">
                  <c:v>50.02469024922479</c:v>
                </c:pt>
                <c:pt idx="2090">
                  <c:v>49.948781325370426</c:v>
                </c:pt>
                <c:pt idx="2091">
                  <c:v>49.637341908809034</c:v>
                </c:pt>
                <c:pt idx="2092">
                  <c:v>49.215940967038044</c:v>
                </c:pt>
                <c:pt idx="2093">
                  <c:v>49.186144940852216</c:v>
                </c:pt>
                <c:pt idx="2094">
                  <c:v>49.186144940852216</c:v>
                </c:pt>
                <c:pt idx="2095">
                  <c:v>49.186144940852216</c:v>
                </c:pt>
                <c:pt idx="2096">
                  <c:v>49.175503502928699</c:v>
                </c:pt>
                <c:pt idx="2097">
                  <c:v>49.217359825427842</c:v>
                </c:pt>
                <c:pt idx="2098">
                  <c:v>49.579878144022075</c:v>
                </c:pt>
                <c:pt idx="2099">
                  <c:v>49.306038474790419</c:v>
                </c:pt>
                <c:pt idx="2100">
                  <c:v>49.55930469736996</c:v>
                </c:pt>
                <c:pt idx="2101">
                  <c:v>49.55930469736996</c:v>
                </c:pt>
                <c:pt idx="2102">
                  <c:v>49.55930469736996</c:v>
                </c:pt>
                <c:pt idx="2103">
                  <c:v>50.019014815665578</c:v>
                </c:pt>
                <c:pt idx="2104">
                  <c:v>50.193534397611138</c:v>
                </c:pt>
                <c:pt idx="2105">
                  <c:v>49.791288044102465</c:v>
                </c:pt>
                <c:pt idx="2106">
                  <c:v>49.787740898127957</c:v>
                </c:pt>
                <c:pt idx="2107">
                  <c:v>49.421675433559223</c:v>
                </c:pt>
                <c:pt idx="2108">
                  <c:v>49.421675433559223</c:v>
                </c:pt>
                <c:pt idx="2109">
                  <c:v>49.421675433559223</c:v>
                </c:pt>
                <c:pt idx="2110">
                  <c:v>49.819665211898489</c:v>
                </c:pt>
                <c:pt idx="2111">
                  <c:v>49.828887791432201</c:v>
                </c:pt>
                <c:pt idx="2112">
                  <c:v>50.852594119673846</c:v>
                </c:pt>
                <c:pt idx="2113">
                  <c:v>51.220787871827284</c:v>
                </c:pt>
                <c:pt idx="2114">
                  <c:v>51.165452394625035</c:v>
                </c:pt>
                <c:pt idx="2115">
                  <c:v>51.165452394625035</c:v>
                </c:pt>
                <c:pt idx="2116">
                  <c:v>51.165452394625035</c:v>
                </c:pt>
                <c:pt idx="2117">
                  <c:v>51.730158033765953</c:v>
                </c:pt>
                <c:pt idx="2118">
                  <c:v>51.496755828643643</c:v>
                </c:pt>
                <c:pt idx="2119">
                  <c:v>51.664181118640201</c:v>
                </c:pt>
                <c:pt idx="2120">
                  <c:v>52.078487768462189</c:v>
                </c:pt>
                <c:pt idx="2121">
                  <c:v>51.308757091994977</c:v>
                </c:pt>
                <c:pt idx="2122">
                  <c:v>51.308757091994977</c:v>
                </c:pt>
                <c:pt idx="2123">
                  <c:v>51.308757091994977</c:v>
                </c:pt>
                <c:pt idx="2124">
                  <c:v>51.295277937291864</c:v>
                </c:pt>
                <c:pt idx="2125">
                  <c:v>51.397435741357562</c:v>
                </c:pt>
                <c:pt idx="2126">
                  <c:v>51.968526243252583</c:v>
                </c:pt>
                <c:pt idx="2127">
                  <c:v>51.988390260709814</c:v>
                </c:pt>
                <c:pt idx="2128">
                  <c:v>52.101898931893921</c:v>
                </c:pt>
                <c:pt idx="2129">
                  <c:v>52.101898931893921</c:v>
                </c:pt>
                <c:pt idx="2130">
                  <c:v>52.101898931893921</c:v>
                </c:pt>
                <c:pt idx="2131">
                  <c:v>51.966397955667901</c:v>
                </c:pt>
                <c:pt idx="2132">
                  <c:v>52.310471115194723</c:v>
                </c:pt>
                <c:pt idx="2133">
                  <c:v>52.174970138968703</c:v>
                </c:pt>
                <c:pt idx="2134">
                  <c:v>52.21824531985763</c:v>
                </c:pt>
                <c:pt idx="2135">
                  <c:v>52.36013115883776</c:v>
                </c:pt>
                <c:pt idx="2136">
                  <c:v>52.36013115883776</c:v>
                </c:pt>
                <c:pt idx="2137">
                  <c:v>52.36013115883776</c:v>
                </c:pt>
                <c:pt idx="2138">
                  <c:v>52.665895141839947</c:v>
                </c:pt>
                <c:pt idx="2139">
                  <c:v>52.675827150568551</c:v>
                </c:pt>
                <c:pt idx="2140">
                  <c:v>52.607012518663183</c:v>
                </c:pt>
                <c:pt idx="2141">
                  <c:v>52.196962444010609</c:v>
                </c:pt>
                <c:pt idx="2142">
                  <c:v>51.632256804869684</c:v>
                </c:pt>
                <c:pt idx="2143">
                  <c:v>51.632256804869684</c:v>
                </c:pt>
                <c:pt idx="2144">
                  <c:v>51.632256804869684</c:v>
                </c:pt>
                <c:pt idx="2145">
                  <c:v>52.19625301481571</c:v>
                </c:pt>
                <c:pt idx="2146">
                  <c:v>51.826640404272467</c:v>
                </c:pt>
                <c:pt idx="2147">
                  <c:v>52.247331916848559</c:v>
                </c:pt>
                <c:pt idx="2148">
                  <c:v>51.554929022625522</c:v>
                </c:pt>
                <c:pt idx="2149">
                  <c:v>51.53719329275301</c:v>
                </c:pt>
                <c:pt idx="2150">
                  <c:v>51.53719329275301</c:v>
                </c:pt>
                <c:pt idx="2151">
                  <c:v>51.53719329275301</c:v>
                </c:pt>
                <c:pt idx="2152">
                  <c:v>51.484695532330363</c:v>
                </c:pt>
                <c:pt idx="2153">
                  <c:v>51.826640404272474</c:v>
                </c:pt>
                <c:pt idx="2154">
                  <c:v>51.728739175376184</c:v>
                </c:pt>
                <c:pt idx="2155">
                  <c:v>51.823802687492872</c:v>
                </c:pt>
                <c:pt idx="2156">
                  <c:v>51.818127253933667</c:v>
                </c:pt>
                <c:pt idx="2157">
                  <c:v>51.818127253933667</c:v>
                </c:pt>
                <c:pt idx="2158">
                  <c:v>51.818127253933667</c:v>
                </c:pt>
                <c:pt idx="2159">
                  <c:v>51.689011140461751</c:v>
                </c:pt>
                <c:pt idx="2160">
                  <c:v>51.304500516825591</c:v>
                </c:pt>
                <c:pt idx="2161">
                  <c:v>51.79258780291724</c:v>
                </c:pt>
                <c:pt idx="2162">
                  <c:v>52.488537843114784</c:v>
                </c:pt>
                <c:pt idx="2163">
                  <c:v>53.013515447341263</c:v>
                </c:pt>
                <c:pt idx="2164">
                  <c:v>53.013515447341263</c:v>
                </c:pt>
                <c:pt idx="2165">
                  <c:v>53.013515447341263</c:v>
                </c:pt>
                <c:pt idx="2166">
                  <c:v>52.914195360055174</c:v>
                </c:pt>
                <c:pt idx="2167">
                  <c:v>53.122767543355963</c:v>
                </c:pt>
                <c:pt idx="2168">
                  <c:v>52.881561617089744</c:v>
                </c:pt>
                <c:pt idx="2169">
                  <c:v>53.022738026874976</c:v>
                </c:pt>
                <c:pt idx="2170">
                  <c:v>52.882271046284643</c:v>
                </c:pt>
                <c:pt idx="2171">
                  <c:v>52.882271046284643</c:v>
                </c:pt>
                <c:pt idx="2172">
                  <c:v>52.882271046284643</c:v>
                </c:pt>
                <c:pt idx="2173">
                  <c:v>53.326373722292452</c:v>
                </c:pt>
                <c:pt idx="2174">
                  <c:v>53.656967727116168</c:v>
                </c:pt>
                <c:pt idx="2175">
                  <c:v>54.018776616515495</c:v>
                </c:pt>
                <c:pt idx="2176">
                  <c:v>54.108874124267878</c:v>
                </c:pt>
                <c:pt idx="2177">
                  <c:v>53.837162742620919</c:v>
                </c:pt>
                <c:pt idx="2178">
                  <c:v>53.837162742620919</c:v>
                </c:pt>
                <c:pt idx="2179">
                  <c:v>53.837162742620919</c:v>
                </c:pt>
                <c:pt idx="2180">
                  <c:v>54.093266681980054</c:v>
                </c:pt>
                <c:pt idx="2181">
                  <c:v>54.167047318249722</c:v>
                </c:pt>
                <c:pt idx="2182">
                  <c:v>54.298291719306349</c:v>
                </c:pt>
                <c:pt idx="2183">
                  <c:v>54.761548983576475</c:v>
                </c:pt>
                <c:pt idx="2184">
                  <c:v>54.854484208108467</c:v>
                </c:pt>
                <c:pt idx="2185">
                  <c:v>54.854484208108467</c:v>
                </c:pt>
                <c:pt idx="2186">
                  <c:v>54.854484208108467</c:v>
                </c:pt>
                <c:pt idx="2187">
                  <c:v>55.187915929711771</c:v>
                </c:pt>
                <c:pt idx="2188">
                  <c:v>54.90698196853112</c:v>
                </c:pt>
                <c:pt idx="2189">
                  <c:v>55.263115424371243</c:v>
                </c:pt>
                <c:pt idx="2190">
                  <c:v>55.519928792925278</c:v>
                </c:pt>
                <c:pt idx="2191">
                  <c:v>55.554690823475411</c:v>
                </c:pt>
                <c:pt idx="2192">
                  <c:v>55.554690823475411</c:v>
                </c:pt>
                <c:pt idx="2193">
                  <c:v>55.554690823475411</c:v>
                </c:pt>
                <c:pt idx="2194">
                  <c:v>55.669618353049316</c:v>
                </c:pt>
                <c:pt idx="2195">
                  <c:v>55.961193752153484</c:v>
                </c:pt>
                <c:pt idx="2196">
                  <c:v>55.615701734236865</c:v>
                </c:pt>
                <c:pt idx="2197">
                  <c:v>55.990989778339305</c:v>
                </c:pt>
                <c:pt idx="2198">
                  <c:v>55.675293786608506</c:v>
                </c:pt>
                <c:pt idx="2199">
                  <c:v>55.675293786608506</c:v>
                </c:pt>
                <c:pt idx="2200">
                  <c:v>55.675293786608506</c:v>
                </c:pt>
                <c:pt idx="2201">
                  <c:v>55.74694613529347</c:v>
                </c:pt>
                <c:pt idx="2202">
                  <c:v>55.905148845756315</c:v>
                </c:pt>
                <c:pt idx="2203">
                  <c:v>55.929978867577844</c:v>
                </c:pt>
                <c:pt idx="2204">
                  <c:v>56.072574135752873</c:v>
                </c:pt>
                <c:pt idx="2205">
                  <c:v>56.218007120707519</c:v>
                </c:pt>
                <c:pt idx="2206">
                  <c:v>56.218007120707519</c:v>
                </c:pt>
                <c:pt idx="2207">
                  <c:v>56.218007120707519</c:v>
                </c:pt>
                <c:pt idx="2208">
                  <c:v>56.106626737108108</c:v>
                </c:pt>
                <c:pt idx="2209">
                  <c:v>55.950552314229967</c:v>
                </c:pt>
                <c:pt idx="2210">
                  <c:v>55.908695991730838</c:v>
                </c:pt>
                <c:pt idx="2211">
                  <c:v>55.864711381646998</c:v>
                </c:pt>
                <c:pt idx="2212">
                  <c:v>56.391107844263288</c:v>
                </c:pt>
                <c:pt idx="2213">
                  <c:v>56.391107844263288</c:v>
                </c:pt>
                <c:pt idx="2214">
                  <c:v>56.391107844263288</c:v>
                </c:pt>
                <c:pt idx="2215">
                  <c:v>56.174731939818592</c:v>
                </c:pt>
                <c:pt idx="2216">
                  <c:v>56.106626737108122</c:v>
                </c:pt>
                <c:pt idx="2217">
                  <c:v>56.6195440450213</c:v>
                </c:pt>
                <c:pt idx="2218">
                  <c:v>56.434383025152229</c:v>
                </c:pt>
                <c:pt idx="2219">
                  <c:v>56.862878258872222</c:v>
                </c:pt>
                <c:pt idx="2220">
                  <c:v>56.862878258872222</c:v>
                </c:pt>
                <c:pt idx="2221">
                  <c:v>56.862878258872222</c:v>
                </c:pt>
                <c:pt idx="2222">
                  <c:v>57.453123349029568</c:v>
                </c:pt>
                <c:pt idx="2223">
                  <c:v>57.247388882508382</c:v>
                </c:pt>
                <c:pt idx="2224">
                  <c:v>57.847565981394332</c:v>
                </c:pt>
                <c:pt idx="2225">
                  <c:v>57.394240725852818</c:v>
                </c:pt>
                <c:pt idx="2226">
                  <c:v>57.878780865969972</c:v>
                </c:pt>
                <c:pt idx="2227">
                  <c:v>57.878780865969972</c:v>
                </c:pt>
                <c:pt idx="2228">
                  <c:v>57.878780865969972</c:v>
                </c:pt>
                <c:pt idx="2229">
                  <c:v>58.020666704950102</c:v>
                </c:pt>
                <c:pt idx="2230">
                  <c:v>58.130628230159708</c:v>
                </c:pt>
                <c:pt idx="2231">
                  <c:v>58.327140117147188</c:v>
                </c:pt>
                <c:pt idx="2232">
                  <c:v>57.54818686114627</c:v>
                </c:pt>
                <c:pt idx="2233">
                  <c:v>57.336067531870974</c:v>
                </c:pt>
                <c:pt idx="2234">
                  <c:v>57.336067531870974</c:v>
                </c:pt>
                <c:pt idx="2235">
                  <c:v>57.336067531870974</c:v>
                </c:pt>
                <c:pt idx="2236">
                  <c:v>57.176445963018331</c:v>
                </c:pt>
                <c:pt idx="2237">
                  <c:v>56.885579993109062</c:v>
                </c:pt>
                <c:pt idx="2238">
                  <c:v>56.401039852991914</c:v>
                </c:pt>
                <c:pt idx="2239">
                  <c:v>56.910410014930591</c:v>
                </c:pt>
                <c:pt idx="2240">
                  <c:v>56.480495922820793</c:v>
                </c:pt>
                <c:pt idx="2241">
                  <c:v>56.480495922820793</c:v>
                </c:pt>
                <c:pt idx="2242">
                  <c:v>56.480495922820793</c:v>
                </c:pt>
                <c:pt idx="2243">
                  <c:v>56.769943034340265</c:v>
                </c:pt>
                <c:pt idx="2244">
                  <c:v>57.354512690938407</c:v>
                </c:pt>
                <c:pt idx="2245">
                  <c:v>57.255902032847217</c:v>
                </c:pt>
                <c:pt idx="2246">
                  <c:v>57.034560124038208</c:v>
                </c:pt>
                <c:pt idx="2247">
                  <c:v>56.777037326289268</c:v>
                </c:pt>
                <c:pt idx="2248">
                  <c:v>56.777037326289268</c:v>
                </c:pt>
                <c:pt idx="2249">
                  <c:v>56.777037326289268</c:v>
                </c:pt>
                <c:pt idx="2250">
                  <c:v>56.252769151257681</c:v>
                </c:pt>
                <c:pt idx="2251">
                  <c:v>56.413100149305237</c:v>
                </c:pt>
                <c:pt idx="2252">
                  <c:v>56.554276559090454</c:v>
                </c:pt>
                <c:pt idx="2253">
                  <c:v>56.529446537268939</c:v>
                </c:pt>
                <c:pt idx="2254">
                  <c:v>56.641536350063241</c:v>
                </c:pt>
                <c:pt idx="2255">
                  <c:v>56.641536350063241</c:v>
                </c:pt>
                <c:pt idx="2256">
                  <c:v>56.641536350063241</c:v>
                </c:pt>
                <c:pt idx="2257">
                  <c:v>56.780584472263769</c:v>
                </c:pt>
                <c:pt idx="2258">
                  <c:v>56.191758240496227</c:v>
                </c:pt>
                <c:pt idx="2259">
                  <c:v>55.782417595038538</c:v>
                </c:pt>
                <c:pt idx="2260">
                  <c:v>55.5192193637304</c:v>
                </c:pt>
                <c:pt idx="2261">
                  <c:v>55.810085333639677</c:v>
                </c:pt>
                <c:pt idx="2262">
                  <c:v>55.810085333639677</c:v>
                </c:pt>
                <c:pt idx="2263">
                  <c:v>55.810085333639677</c:v>
                </c:pt>
                <c:pt idx="2264">
                  <c:v>56.178279085793115</c:v>
                </c:pt>
                <c:pt idx="2265">
                  <c:v>56.820312507178201</c:v>
                </c:pt>
                <c:pt idx="2266">
                  <c:v>56.621672332606025</c:v>
                </c:pt>
                <c:pt idx="2267">
                  <c:v>56.435092454347149</c:v>
                </c:pt>
                <c:pt idx="2268">
                  <c:v>56.098823015964236</c:v>
                </c:pt>
                <c:pt idx="2269">
                  <c:v>56.098823015964236</c:v>
                </c:pt>
                <c:pt idx="2270">
                  <c:v>56.098823015964236</c:v>
                </c:pt>
                <c:pt idx="2271">
                  <c:v>56.6990001148502</c:v>
                </c:pt>
                <c:pt idx="2272">
                  <c:v>56.779165613873971</c:v>
                </c:pt>
                <c:pt idx="2273">
                  <c:v>56.69261525209609</c:v>
                </c:pt>
                <c:pt idx="2274">
                  <c:v>57.316912943608656</c:v>
                </c:pt>
                <c:pt idx="2275">
                  <c:v>57.228234294246072</c:v>
                </c:pt>
                <c:pt idx="2276">
                  <c:v>57.228234294246072</c:v>
                </c:pt>
                <c:pt idx="2277">
                  <c:v>57.228234294246072</c:v>
                </c:pt>
                <c:pt idx="2278">
                  <c:v>57.228234294246072</c:v>
                </c:pt>
                <c:pt idx="2279">
                  <c:v>57.228234294246072</c:v>
                </c:pt>
                <c:pt idx="2280">
                  <c:v>57.819188813598323</c:v>
                </c:pt>
                <c:pt idx="2281">
                  <c:v>58.033436430458323</c:v>
                </c:pt>
                <c:pt idx="2282">
                  <c:v>57.779460778683891</c:v>
                </c:pt>
                <c:pt idx="2283">
                  <c:v>57.779460778683891</c:v>
                </c:pt>
                <c:pt idx="2284">
                  <c:v>57.779460778683891</c:v>
                </c:pt>
                <c:pt idx="2285">
                  <c:v>57.779460778683891</c:v>
                </c:pt>
                <c:pt idx="2286">
                  <c:v>57.834086826691241</c:v>
                </c:pt>
                <c:pt idx="2287">
                  <c:v>58.002221545882698</c:v>
                </c:pt>
                <c:pt idx="2288">
                  <c:v>58.591757206845145</c:v>
                </c:pt>
                <c:pt idx="2289">
                  <c:v>59.072040771792892</c:v>
                </c:pt>
                <c:pt idx="2290">
                  <c:v>59.072040771792892</c:v>
                </c:pt>
                <c:pt idx="2291">
                  <c:v>59.072040771792892</c:v>
                </c:pt>
                <c:pt idx="2292">
                  <c:v>59.218183185942429</c:v>
                </c:pt>
                <c:pt idx="2293">
                  <c:v>59.637455840128716</c:v>
                </c:pt>
                <c:pt idx="2294">
                  <c:v>59.607659813942895</c:v>
                </c:pt>
                <c:pt idx="2295">
                  <c:v>59.523947168944616</c:v>
                </c:pt>
                <c:pt idx="2296">
                  <c:v>59.576444929367263</c:v>
                </c:pt>
                <c:pt idx="2297">
                  <c:v>59.576444929367263</c:v>
                </c:pt>
                <c:pt idx="2298">
                  <c:v>59.576444929367263</c:v>
                </c:pt>
                <c:pt idx="2299">
                  <c:v>59.577154358562161</c:v>
                </c:pt>
                <c:pt idx="2300">
                  <c:v>59.583539221316272</c:v>
                </c:pt>
                <c:pt idx="2301">
                  <c:v>59.240884920179248</c:v>
                </c:pt>
                <c:pt idx="2302">
                  <c:v>59.072040771792892</c:v>
                </c:pt>
                <c:pt idx="2303">
                  <c:v>59.260748937636471</c:v>
                </c:pt>
                <c:pt idx="2304">
                  <c:v>59.260748937636471</c:v>
                </c:pt>
                <c:pt idx="2305">
                  <c:v>59.260748937636471</c:v>
                </c:pt>
                <c:pt idx="2306">
                  <c:v>59.601274951188785</c:v>
                </c:pt>
                <c:pt idx="2307">
                  <c:v>59.554452624325343</c:v>
                </c:pt>
                <c:pt idx="2308">
                  <c:v>59.357940737337863</c:v>
                </c:pt>
                <c:pt idx="2309">
                  <c:v>58.788269093832625</c:v>
                </c:pt>
                <c:pt idx="2310">
                  <c:v>58.394535890662759</c:v>
                </c:pt>
                <c:pt idx="2311">
                  <c:v>58.394535890662759</c:v>
                </c:pt>
                <c:pt idx="2312">
                  <c:v>58.394535890662759</c:v>
                </c:pt>
                <c:pt idx="2313">
                  <c:v>58.007896979441902</c:v>
                </c:pt>
                <c:pt idx="2314">
                  <c:v>57.392112438268136</c:v>
                </c:pt>
                <c:pt idx="2315">
                  <c:v>57.535417135638063</c:v>
                </c:pt>
                <c:pt idx="2316">
                  <c:v>58.041949580797137</c:v>
                </c:pt>
                <c:pt idx="2317">
                  <c:v>57.453832778224495</c:v>
                </c:pt>
                <c:pt idx="2318">
                  <c:v>57.453832778224495</c:v>
                </c:pt>
                <c:pt idx="2319">
                  <c:v>57.453832778224495</c:v>
                </c:pt>
                <c:pt idx="2320">
                  <c:v>56.970711496497145</c:v>
                </c:pt>
                <c:pt idx="2321">
                  <c:v>55.675293786608549</c:v>
                </c:pt>
                <c:pt idx="2322">
                  <c:v>56.677007809808266</c:v>
                </c:pt>
                <c:pt idx="2323">
                  <c:v>56.530865395658736</c:v>
                </c:pt>
                <c:pt idx="2324">
                  <c:v>55.870386815206217</c:v>
                </c:pt>
                <c:pt idx="2325">
                  <c:v>55.870386815206217</c:v>
                </c:pt>
                <c:pt idx="2326">
                  <c:v>55.870386815206217</c:v>
                </c:pt>
                <c:pt idx="2327">
                  <c:v>56.640826920868335</c:v>
                </c:pt>
                <c:pt idx="2328">
                  <c:v>56.691905822901177</c:v>
                </c:pt>
                <c:pt idx="2329">
                  <c:v>56.363440105662171</c:v>
                </c:pt>
                <c:pt idx="2330">
                  <c:v>56.871391409211036</c:v>
                </c:pt>
                <c:pt idx="2331">
                  <c:v>57.456670495004083</c:v>
                </c:pt>
                <c:pt idx="2332">
                  <c:v>57.456670495004083</c:v>
                </c:pt>
                <c:pt idx="2333">
                  <c:v>57.456670495004083</c:v>
                </c:pt>
                <c:pt idx="2334">
                  <c:v>57.292082921787134</c:v>
                </c:pt>
                <c:pt idx="2335">
                  <c:v>57.46092707017349</c:v>
                </c:pt>
                <c:pt idx="2336">
                  <c:v>57.625514643390446</c:v>
                </c:pt>
                <c:pt idx="2337">
                  <c:v>57.633318364534354</c:v>
                </c:pt>
                <c:pt idx="2338">
                  <c:v>58.349132422189115</c:v>
                </c:pt>
                <c:pt idx="2339">
                  <c:v>58.349132422189115</c:v>
                </c:pt>
                <c:pt idx="2340">
                  <c:v>58.349132422189115</c:v>
                </c:pt>
                <c:pt idx="2341">
                  <c:v>58.178869415412962</c:v>
                </c:pt>
                <c:pt idx="2342">
                  <c:v>58.093737912024885</c:v>
                </c:pt>
                <c:pt idx="2343">
                  <c:v>58.156877110371049</c:v>
                </c:pt>
                <c:pt idx="2344">
                  <c:v>57.471568508097015</c:v>
                </c:pt>
                <c:pt idx="2345">
                  <c:v>56.327259216722254</c:v>
                </c:pt>
                <c:pt idx="2346">
                  <c:v>56.327259216722254</c:v>
                </c:pt>
                <c:pt idx="2347">
                  <c:v>56.327259216722254</c:v>
                </c:pt>
                <c:pt idx="2348">
                  <c:v>56.850817962558935</c:v>
                </c:pt>
                <c:pt idx="2349">
                  <c:v>57.941210635121244</c:v>
                </c:pt>
                <c:pt idx="2350">
                  <c:v>57.597846904789328</c:v>
                </c:pt>
                <c:pt idx="2351">
                  <c:v>57.845437693809657</c:v>
                </c:pt>
                <c:pt idx="2352">
                  <c:v>58.051881589525749</c:v>
                </c:pt>
                <c:pt idx="2353">
                  <c:v>58.051881589525749</c:v>
                </c:pt>
                <c:pt idx="2354">
                  <c:v>58.051881589525749</c:v>
                </c:pt>
                <c:pt idx="2355">
                  <c:v>57.982357528425482</c:v>
                </c:pt>
                <c:pt idx="2356">
                  <c:v>57.958946364993764</c:v>
                </c:pt>
                <c:pt idx="2357">
                  <c:v>57.508458826231845</c:v>
                </c:pt>
                <c:pt idx="2358">
                  <c:v>57.230362581830789</c:v>
                </c:pt>
                <c:pt idx="2359">
                  <c:v>57.231072011025688</c:v>
                </c:pt>
                <c:pt idx="2360">
                  <c:v>57.231072011025688</c:v>
                </c:pt>
                <c:pt idx="2361">
                  <c:v>57.231072011025688</c:v>
                </c:pt>
                <c:pt idx="2362">
                  <c:v>56.618125186631524</c:v>
                </c:pt>
                <c:pt idx="2363">
                  <c:v>56.930274032387814</c:v>
                </c:pt>
                <c:pt idx="2364">
                  <c:v>57.114016193867087</c:v>
                </c:pt>
                <c:pt idx="2365">
                  <c:v>56.405296428161328</c:v>
                </c:pt>
                <c:pt idx="2366">
                  <c:v>56.774909038704564</c:v>
                </c:pt>
                <c:pt idx="2367">
                  <c:v>56.774909038704564</c:v>
                </c:pt>
                <c:pt idx="2368">
                  <c:v>56.774909038704564</c:v>
                </c:pt>
                <c:pt idx="2369">
                  <c:v>56.672751234638874</c:v>
                </c:pt>
                <c:pt idx="2370">
                  <c:v>57.17928367979794</c:v>
                </c:pt>
                <c:pt idx="2371">
                  <c:v>57.1317519237396</c:v>
                </c:pt>
                <c:pt idx="2372">
                  <c:v>57.1317519237396</c:v>
                </c:pt>
                <c:pt idx="2373">
                  <c:v>57.1317519237396</c:v>
                </c:pt>
                <c:pt idx="2374">
                  <c:v>57.1317519237396</c:v>
                </c:pt>
                <c:pt idx="2375">
                  <c:v>57.1317519237396</c:v>
                </c:pt>
                <c:pt idx="2376">
                  <c:v>57.1317519237396</c:v>
                </c:pt>
                <c:pt idx="2377">
                  <c:v>57.575854599747416</c:v>
                </c:pt>
                <c:pt idx="2378">
                  <c:v>56.803995635695507</c:v>
                </c:pt>
                <c:pt idx="2379">
                  <c:v>57.971716090501985</c:v>
                </c:pt>
                <c:pt idx="2380">
                  <c:v>57.709936717583645</c:v>
                </c:pt>
                <c:pt idx="2381">
                  <c:v>57.709936717583645</c:v>
                </c:pt>
                <c:pt idx="2382">
                  <c:v>57.709936717583645</c:v>
                </c:pt>
                <c:pt idx="2383">
                  <c:v>57.819188813598338</c:v>
                </c:pt>
                <c:pt idx="2384">
                  <c:v>58.870562880441121</c:v>
                </c:pt>
                <c:pt idx="2385">
                  <c:v>58.996841277133441</c:v>
                </c:pt>
                <c:pt idx="2386">
                  <c:v>59.196190880900531</c:v>
                </c:pt>
                <c:pt idx="2387">
                  <c:v>59.491313425979214</c:v>
                </c:pt>
                <c:pt idx="2388">
                  <c:v>59.491313425979214</c:v>
                </c:pt>
                <c:pt idx="2389">
                  <c:v>59.491313425979214</c:v>
                </c:pt>
                <c:pt idx="2390">
                  <c:v>59.320340990008148</c:v>
                </c:pt>
                <c:pt idx="2391">
                  <c:v>59.43526851958206</c:v>
                </c:pt>
                <c:pt idx="2392">
                  <c:v>60.252530952107612</c:v>
                </c:pt>
                <c:pt idx="2393">
                  <c:v>60.362492477317218</c:v>
                </c:pt>
                <c:pt idx="2394">
                  <c:v>60.029770184908806</c:v>
                </c:pt>
                <c:pt idx="2395">
                  <c:v>60.029770184908806</c:v>
                </c:pt>
                <c:pt idx="2396">
                  <c:v>60.029770184908806</c:v>
                </c:pt>
                <c:pt idx="2397">
                  <c:v>60.38732249913874</c:v>
                </c:pt>
                <c:pt idx="2398">
                  <c:v>60.468906856552309</c:v>
                </c:pt>
                <c:pt idx="2399">
                  <c:v>59.639584127713441</c:v>
                </c:pt>
                <c:pt idx="2400">
                  <c:v>61.225158378316415</c:v>
                </c:pt>
                <c:pt idx="2401">
                  <c:v>61.2045849316643</c:v>
                </c:pt>
                <c:pt idx="2402">
                  <c:v>61.2045849316643</c:v>
                </c:pt>
                <c:pt idx="2403">
                  <c:v>61.2045849316643</c:v>
                </c:pt>
                <c:pt idx="2404">
                  <c:v>61.00807304467682</c:v>
                </c:pt>
                <c:pt idx="2405">
                  <c:v>61.00807304467682</c:v>
                </c:pt>
                <c:pt idx="2406">
                  <c:v>61.68486849661204</c:v>
                </c:pt>
                <c:pt idx="2407">
                  <c:v>61.334410474331115</c:v>
                </c:pt>
                <c:pt idx="2408">
                  <c:v>61.349308487424025</c:v>
                </c:pt>
                <c:pt idx="2409">
                  <c:v>61.349308487424025</c:v>
                </c:pt>
                <c:pt idx="2410">
                  <c:v>61.349308487424025</c:v>
                </c:pt>
                <c:pt idx="2411">
                  <c:v>61.979991041690703</c:v>
                </c:pt>
                <c:pt idx="2412">
                  <c:v>62.094209142069708</c:v>
                </c:pt>
                <c:pt idx="2413">
                  <c:v>62.328320776386924</c:v>
                </c:pt>
                <c:pt idx="2414">
                  <c:v>62.328320776386924</c:v>
                </c:pt>
                <c:pt idx="2415">
                  <c:v>62.345347077064524</c:v>
                </c:pt>
                <c:pt idx="2416">
                  <c:v>62.345347077064524</c:v>
                </c:pt>
                <c:pt idx="2417">
                  <c:v>62.345347077064524</c:v>
                </c:pt>
                <c:pt idx="2418">
                  <c:v>62.149544619271943</c:v>
                </c:pt>
                <c:pt idx="2419">
                  <c:v>62.47020661536704</c:v>
                </c:pt>
                <c:pt idx="2420">
                  <c:v>62.705737108074054</c:v>
                </c:pt>
                <c:pt idx="2421">
                  <c:v>62.705737108074054</c:v>
                </c:pt>
                <c:pt idx="2422">
                  <c:v>63.258382450901671</c:v>
                </c:pt>
                <c:pt idx="2423">
                  <c:v>63.258382450901671</c:v>
                </c:pt>
                <c:pt idx="2424">
                  <c:v>63.258382450901671</c:v>
                </c:pt>
                <c:pt idx="2425">
                  <c:v>63.258382450901671</c:v>
                </c:pt>
                <c:pt idx="2426">
                  <c:v>63.012210520271147</c:v>
                </c:pt>
                <c:pt idx="2427">
                  <c:v>62.420546571723996</c:v>
                </c:pt>
                <c:pt idx="2428">
                  <c:v>61.953742161479362</c:v>
                </c:pt>
                <c:pt idx="2429">
                  <c:v>61.293263581026856</c:v>
                </c:pt>
                <c:pt idx="2430">
                  <c:v>61.293263581026856</c:v>
                </c:pt>
                <c:pt idx="2431">
                  <c:v>61.293263581026856</c:v>
                </c:pt>
                <c:pt idx="2432">
                  <c:v>61.611087860342352</c:v>
                </c:pt>
                <c:pt idx="2433">
                  <c:v>61.548658091191093</c:v>
                </c:pt>
                <c:pt idx="2434">
                  <c:v>61.764324566440891</c:v>
                </c:pt>
                <c:pt idx="2435">
                  <c:v>62.111944871942214</c:v>
                </c:pt>
                <c:pt idx="2436">
                  <c:v>62.467368898587445</c:v>
                </c:pt>
                <c:pt idx="2437">
                  <c:v>62.467368898587445</c:v>
                </c:pt>
                <c:pt idx="2438">
                  <c:v>62.467368898587445</c:v>
                </c:pt>
                <c:pt idx="2439">
                  <c:v>62.578039852991957</c:v>
                </c:pt>
                <c:pt idx="2440">
                  <c:v>62.358826231767651</c:v>
                </c:pt>
                <c:pt idx="2441">
                  <c:v>62.641888480533019</c:v>
                </c:pt>
                <c:pt idx="2442">
                  <c:v>63.284631331113012</c:v>
                </c:pt>
                <c:pt idx="2443">
                  <c:v>63.413747444584935</c:v>
                </c:pt>
                <c:pt idx="2444">
                  <c:v>63.413747444584935</c:v>
                </c:pt>
                <c:pt idx="2445">
                  <c:v>63.413747444584935</c:v>
                </c:pt>
                <c:pt idx="2446">
                  <c:v>63.842242678304927</c:v>
                </c:pt>
                <c:pt idx="2447">
                  <c:v>63.718801998392209</c:v>
                </c:pt>
                <c:pt idx="2448">
                  <c:v>63.564855863098771</c:v>
                </c:pt>
                <c:pt idx="2449">
                  <c:v>63.723058573561616</c:v>
                </c:pt>
                <c:pt idx="2450">
                  <c:v>63.522999540599628</c:v>
                </c:pt>
                <c:pt idx="2451">
                  <c:v>63.522999540599628</c:v>
                </c:pt>
                <c:pt idx="2452">
                  <c:v>63.522999540599628</c:v>
                </c:pt>
                <c:pt idx="2453">
                  <c:v>63.044134834041685</c:v>
                </c:pt>
                <c:pt idx="2454">
                  <c:v>62.783774319513149</c:v>
                </c:pt>
                <c:pt idx="2455">
                  <c:v>62.494327207993678</c:v>
                </c:pt>
                <c:pt idx="2456">
                  <c:v>61.831720339956476</c:v>
                </c:pt>
                <c:pt idx="2457">
                  <c:v>62.551790972780644</c:v>
                </c:pt>
                <c:pt idx="2458">
                  <c:v>62.551790972780644</c:v>
                </c:pt>
                <c:pt idx="2459">
                  <c:v>62.551790972780644</c:v>
                </c:pt>
                <c:pt idx="2460">
                  <c:v>61.693381646950847</c:v>
                </c:pt>
                <c:pt idx="2461">
                  <c:v>61.767162283220514</c:v>
                </c:pt>
                <c:pt idx="2462">
                  <c:v>62.60854530837269</c:v>
                </c:pt>
                <c:pt idx="2463">
                  <c:v>62.088533708510511</c:v>
                </c:pt>
                <c:pt idx="2464">
                  <c:v>62.368758240496263</c:v>
                </c:pt>
                <c:pt idx="2465">
                  <c:v>62.368758240496263</c:v>
                </c:pt>
                <c:pt idx="2466">
                  <c:v>62.368758240496263</c:v>
                </c:pt>
                <c:pt idx="2467">
                  <c:v>61.914014126564943</c:v>
                </c:pt>
                <c:pt idx="2468">
                  <c:v>62.286464453887788</c:v>
                </c:pt>
                <c:pt idx="2469">
                  <c:v>62.389331687148378</c:v>
                </c:pt>
                <c:pt idx="2470">
                  <c:v>62.670265648329043</c:v>
                </c:pt>
                <c:pt idx="2471">
                  <c:v>62.241060985414144</c:v>
                </c:pt>
                <c:pt idx="2472">
                  <c:v>62.241060985414144</c:v>
                </c:pt>
                <c:pt idx="2473">
                  <c:v>62.241060985414144</c:v>
                </c:pt>
                <c:pt idx="2474">
                  <c:v>63.044134834041685</c:v>
                </c:pt>
                <c:pt idx="2475">
                  <c:v>63.786907201102679</c:v>
                </c:pt>
                <c:pt idx="2476">
                  <c:v>63.212978982428041</c:v>
                </c:pt>
                <c:pt idx="2477">
                  <c:v>62.783774319513149</c:v>
                </c:pt>
                <c:pt idx="2478">
                  <c:v>62.029651085333754</c:v>
                </c:pt>
                <c:pt idx="2479">
                  <c:v>62.029651085333754</c:v>
                </c:pt>
                <c:pt idx="2480">
                  <c:v>62.029651085333754</c:v>
                </c:pt>
                <c:pt idx="2481">
                  <c:v>61.580582404961632</c:v>
                </c:pt>
                <c:pt idx="2482">
                  <c:v>61.82462604800746</c:v>
                </c:pt>
                <c:pt idx="2483">
                  <c:v>62.011205926266335</c:v>
                </c:pt>
                <c:pt idx="2484">
                  <c:v>62.124714597450442</c:v>
                </c:pt>
                <c:pt idx="2485">
                  <c:v>62.204170667279321</c:v>
                </c:pt>
                <c:pt idx="2486">
                  <c:v>62.204170667279321</c:v>
                </c:pt>
                <c:pt idx="2487">
                  <c:v>62.204170667279321</c:v>
                </c:pt>
                <c:pt idx="2488">
                  <c:v>62.309166188124607</c:v>
                </c:pt>
                <c:pt idx="2489">
                  <c:v>62.621315033880897</c:v>
                </c:pt>
                <c:pt idx="2490">
                  <c:v>62.79867233260606</c:v>
                </c:pt>
                <c:pt idx="2491">
                  <c:v>62.667427931549433</c:v>
                </c:pt>
                <c:pt idx="2492">
                  <c:v>63.339257379120355</c:v>
                </c:pt>
                <c:pt idx="2493">
                  <c:v>63.339257379120355</c:v>
                </c:pt>
                <c:pt idx="2494">
                  <c:v>63.339257379120355</c:v>
                </c:pt>
                <c:pt idx="2495">
                  <c:v>63.245612725393464</c:v>
                </c:pt>
                <c:pt idx="2496">
                  <c:v>63.593233030894787</c:v>
                </c:pt>
                <c:pt idx="2497">
                  <c:v>63.45631319627897</c:v>
                </c:pt>
                <c:pt idx="2498">
                  <c:v>63.313717928103934</c:v>
                </c:pt>
                <c:pt idx="2499">
                  <c:v>63.269023888825195</c:v>
                </c:pt>
                <c:pt idx="2500">
                  <c:v>63.269023888825195</c:v>
                </c:pt>
                <c:pt idx="2501">
                  <c:v>63.269023888825195</c:v>
                </c:pt>
                <c:pt idx="2502">
                  <c:v>63.326487653612141</c:v>
                </c:pt>
                <c:pt idx="2503">
                  <c:v>64.228881589525784</c:v>
                </c:pt>
                <c:pt idx="2504">
                  <c:v>64.335295968760889</c:v>
                </c:pt>
                <c:pt idx="2505">
                  <c:v>64.466540369817508</c:v>
                </c:pt>
                <c:pt idx="2506">
                  <c:v>63.723058573561623</c:v>
                </c:pt>
                <c:pt idx="2507">
                  <c:v>63.723058573561623</c:v>
                </c:pt>
                <c:pt idx="2508">
                  <c:v>63.723058573561623</c:v>
                </c:pt>
                <c:pt idx="2509">
                  <c:v>63.647859078902151</c:v>
                </c:pt>
                <c:pt idx="2510">
                  <c:v>63.551376708395658</c:v>
                </c:pt>
                <c:pt idx="2511">
                  <c:v>62.623443321465608</c:v>
                </c:pt>
                <c:pt idx="2512">
                  <c:v>62.995184219593561</c:v>
                </c:pt>
                <c:pt idx="2513">
                  <c:v>63.130685195819588</c:v>
                </c:pt>
                <c:pt idx="2514">
                  <c:v>63.130685195819588</c:v>
                </c:pt>
                <c:pt idx="2515">
                  <c:v>63.130685195819588</c:v>
                </c:pt>
                <c:pt idx="2516">
                  <c:v>64.013924543470907</c:v>
                </c:pt>
                <c:pt idx="2517">
                  <c:v>64.154391524061239</c:v>
                </c:pt>
                <c:pt idx="2518">
                  <c:v>64.344518548294616</c:v>
                </c:pt>
                <c:pt idx="2519">
                  <c:v>64.300533938210776</c:v>
                </c:pt>
                <c:pt idx="2520">
                  <c:v>64.374314574480451</c:v>
                </c:pt>
                <c:pt idx="2521">
                  <c:v>64.374314574480451</c:v>
                </c:pt>
                <c:pt idx="2522">
                  <c:v>64.374314574480451</c:v>
                </c:pt>
                <c:pt idx="2523">
                  <c:v>64.731866888710385</c:v>
                </c:pt>
                <c:pt idx="2524">
                  <c:v>64.878009302859923</c:v>
                </c:pt>
                <c:pt idx="2525">
                  <c:v>64.919156196164167</c:v>
                </c:pt>
                <c:pt idx="2526">
                  <c:v>64.72902917193079</c:v>
                </c:pt>
                <c:pt idx="2527">
                  <c:v>64.323235672447623</c:v>
                </c:pt>
                <c:pt idx="2528">
                  <c:v>64.323235672447623</c:v>
                </c:pt>
                <c:pt idx="2529">
                  <c:v>64.323235672447623</c:v>
                </c:pt>
                <c:pt idx="2530">
                  <c:v>64.458027219478751</c:v>
                </c:pt>
                <c:pt idx="2531">
                  <c:v>64.196247846560411</c:v>
                </c:pt>
                <c:pt idx="2532">
                  <c:v>63.700356839324854</c:v>
                </c:pt>
                <c:pt idx="2533">
                  <c:v>63.793292063856846</c:v>
                </c:pt>
                <c:pt idx="2534">
                  <c:v>63.349898817043936</c:v>
                </c:pt>
                <c:pt idx="2535">
                  <c:v>63.349898817043936</c:v>
                </c:pt>
                <c:pt idx="2536">
                  <c:v>63.349898817043936</c:v>
                </c:pt>
                <c:pt idx="2537">
                  <c:v>63.643602503732808</c:v>
                </c:pt>
                <c:pt idx="2538">
                  <c:v>63.8457898242795</c:v>
                </c:pt>
                <c:pt idx="2539">
                  <c:v>64.288473641897511</c:v>
                </c:pt>
                <c:pt idx="2540">
                  <c:v>64.261515332491285</c:v>
                </c:pt>
                <c:pt idx="2541">
                  <c:v>64.337424256345656</c:v>
                </c:pt>
                <c:pt idx="2542">
                  <c:v>64.337424256345656</c:v>
                </c:pt>
                <c:pt idx="2543">
                  <c:v>64.337424256345656</c:v>
                </c:pt>
                <c:pt idx="2544">
                  <c:v>64.559475594349564</c:v>
                </c:pt>
                <c:pt idx="2545">
                  <c:v>64.970235098197051</c:v>
                </c:pt>
                <c:pt idx="2546">
                  <c:v>64.772304352819773</c:v>
                </c:pt>
                <c:pt idx="2547">
                  <c:v>65.123471804295605</c:v>
                </c:pt>
                <c:pt idx="2548">
                  <c:v>65.547001033651298</c:v>
                </c:pt>
                <c:pt idx="2549">
                  <c:v>65.547001033651298</c:v>
                </c:pt>
                <c:pt idx="2550">
                  <c:v>65.547001033651298</c:v>
                </c:pt>
                <c:pt idx="2551">
                  <c:v>66.115963247961631</c:v>
                </c:pt>
                <c:pt idx="2552">
                  <c:v>67.142507292982884</c:v>
                </c:pt>
                <c:pt idx="2553">
                  <c:v>66.79559641667646</c:v>
                </c:pt>
                <c:pt idx="2554">
                  <c:v>66.799852991845881</c:v>
                </c:pt>
                <c:pt idx="2555">
                  <c:v>66.562903640749056</c:v>
                </c:pt>
                <c:pt idx="2556">
                  <c:v>66.562903640749056</c:v>
                </c:pt>
                <c:pt idx="2557">
                  <c:v>66.562903640749056</c:v>
                </c:pt>
                <c:pt idx="2558">
                  <c:v>66.83603388078582</c:v>
                </c:pt>
                <c:pt idx="2559">
                  <c:v>67.009844033536481</c:v>
                </c:pt>
                <c:pt idx="2560">
                  <c:v>66.707627196508795</c:v>
                </c:pt>
                <c:pt idx="2561">
                  <c:v>65.973367979786616</c:v>
                </c:pt>
                <c:pt idx="2562">
                  <c:v>65.779693809578731</c:v>
                </c:pt>
                <c:pt idx="2563">
                  <c:v>65.779693809578731</c:v>
                </c:pt>
                <c:pt idx="2564">
                  <c:v>65.779693809578731</c:v>
                </c:pt>
                <c:pt idx="2565">
                  <c:v>65.287349948317669</c:v>
                </c:pt>
                <c:pt idx="2566">
                  <c:v>65.544872746066602</c:v>
                </c:pt>
                <c:pt idx="2567">
                  <c:v>64.856016997818074</c:v>
                </c:pt>
                <c:pt idx="2568">
                  <c:v>63.203756402894435</c:v>
                </c:pt>
                <c:pt idx="2569">
                  <c:v>63.39033628115331</c:v>
                </c:pt>
                <c:pt idx="2570">
                  <c:v>63.39033628115331</c:v>
                </c:pt>
                <c:pt idx="2571">
                  <c:v>63.39033628115331</c:v>
                </c:pt>
                <c:pt idx="2572">
                  <c:v>63.409490869415627</c:v>
                </c:pt>
                <c:pt idx="2573">
                  <c:v>64.162195245205226</c:v>
                </c:pt>
                <c:pt idx="2574">
                  <c:v>64.089124038130464</c:v>
                </c:pt>
                <c:pt idx="2575">
                  <c:v>63.176798093488216</c:v>
                </c:pt>
                <c:pt idx="2576">
                  <c:v>63.887646146778671</c:v>
                </c:pt>
                <c:pt idx="2577">
                  <c:v>63.887646146778671</c:v>
                </c:pt>
                <c:pt idx="2578">
                  <c:v>63.887646146778671</c:v>
                </c:pt>
                <c:pt idx="2579">
                  <c:v>62.640469622143321</c:v>
                </c:pt>
                <c:pt idx="2580">
                  <c:v>61.28262214310346</c:v>
                </c:pt>
                <c:pt idx="2581">
                  <c:v>61.701185368094841</c:v>
                </c:pt>
                <c:pt idx="2582">
                  <c:v>61.967221316182588</c:v>
                </c:pt>
                <c:pt idx="2583">
                  <c:v>61.209550936028684</c:v>
                </c:pt>
                <c:pt idx="2584">
                  <c:v>61.209550936028684</c:v>
                </c:pt>
                <c:pt idx="2585">
                  <c:v>61.209550936028684</c:v>
                </c:pt>
                <c:pt idx="2586">
                  <c:v>62.130390031009739</c:v>
                </c:pt>
                <c:pt idx="2587">
                  <c:v>61.63875559894359</c:v>
                </c:pt>
                <c:pt idx="2588">
                  <c:v>63.115077753531857</c:v>
                </c:pt>
                <c:pt idx="2589">
                  <c:v>62.781646031928553</c:v>
                </c:pt>
                <c:pt idx="2590">
                  <c:v>63.069674285058213</c:v>
                </c:pt>
                <c:pt idx="2591">
                  <c:v>63.069674285058213</c:v>
                </c:pt>
                <c:pt idx="2592">
                  <c:v>63.069674285058213</c:v>
                </c:pt>
                <c:pt idx="2593">
                  <c:v>63.393883427127818</c:v>
                </c:pt>
                <c:pt idx="2594">
                  <c:v>63.203756402894435</c:v>
                </c:pt>
                <c:pt idx="2595">
                  <c:v>63.537188124497746</c:v>
                </c:pt>
                <c:pt idx="2596">
                  <c:v>63.315846215688744</c:v>
                </c:pt>
                <c:pt idx="2597">
                  <c:v>62.886641552773845</c:v>
                </c:pt>
                <c:pt idx="2598">
                  <c:v>62.886641552773845</c:v>
                </c:pt>
                <c:pt idx="2599">
                  <c:v>62.886641552773845</c:v>
                </c:pt>
                <c:pt idx="2600">
                  <c:v>62.899411278282052</c:v>
                </c:pt>
                <c:pt idx="2601">
                  <c:v>62.105560009188217</c:v>
                </c:pt>
                <c:pt idx="2602">
                  <c:v>61.796958309406442</c:v>
                </c:pt>
                <c:pt idx="2603">
                  <c:v>61.347180199839421</c:v>
                </c:pt>
                <c:pt idx="2604">
                  <c:v>61.905500976226236</c:v>
                </c:pt>
                <c:pt idx="2605">
                  <c:v>61.905500976226236</c:v>
                </c:pt>
                <c:pt idx="2606">
                  <c:v>61.905500976226236</c:v>
                </c:pt>
                <c:pt idx="2607">
                  <c:v>61.391164809923261</c:v>
                </c:pt>
                <c:pt idx="2608">
                  <c:v>59.681440450212676</c:v>
                </c:pt>
                <c:pt idx="2609">
                  <c:v>60.646973584472462</c:v>
                </c:pt>
                <c:pt idx="2610">
                  <c:v>60.233376363845373</c:v>
                </c:pt>
                <c:pt idx="2611">
                  <c:v>59.389155621913595</c:v>
                </c:pt>
                <c:pt idx="2612">
                  <c:v>59.389155621913595</c:v>
                </c:pt>
                <c:pt idx="2613">
                  <c:v>59.389155621913595</c:v>
                </c:pt>
                <c:pt idx="2614">
                  <c:v>60.502959457907636</c:v>
                </c:pt>
                <c:pt idx="2615">
                  <c:v>60.78176513150359</c:v>
                </c:pt>
                <c:pt idx="2616">
                  <c:v>60.617886987481548</c:v>
                </c:pt>
                <c:pt idx="2617">
                  <c:v>61.137189158148828</c:v>
                </c:pt>
                <c:pt idx="2618">
                  <c:v>61.080434822556782</c:v>
                </c:pt>
                <c:pt idx="2619">
                  <c:v>61.080434822556782</c:v>
                </c:pt>
                <c:pt idx="2620">
                  <c:v>61.080434822556782</c:v>
                </c:pt>
                <c:pt idx="2621">
                  <c:v>62.03390766050326</c:v>
                </c:pt>
                <c:pt idx="2622">
                  <c:v>61.720339956357172</c:v>
                </c:pt>
                <c:pt idx="2623">
                  <c:v>60.878956931204989</c:v>
                </c:pt>
                <c:pt idx="2624">
                  <c:v>58.596013782014673</c:v>
                </c:pt>
                <c:pt idx="2625">
                  <c:v>59.886465487538963</c:v>
                </c:pt>
                <c:pt idx="2626">
                  <c:v>59.886465487538963</c:v>
                </c:pt>
                <c:pt idx="2627">
                  <c:v>59.886465487538963</c:v>
                </c:pt>
                <c:pt idx="2628">
                  <c:v>58.429297921213013</c:v>
                </c:pt>
                <c:pt idx="2629">
                  <c:v>59.223858619501748</c:v>
                </c:pt>
                <c:pt idx="2630">
                  <c:v>59.918389801309495</c:v>
                </c:pt>
                <c:pt idx="2631">
                  <c:v>59.497698288733403</c:v>
                </c:pt>
                <c:pt idx="2632">
                  <c:v>58.936539795566986</c:v>
                </c:pt>
                <c:pt idx="2633">
                  <c:v>58.936539795566986</c:v>
                </c:pt>
                <c:pt idx="2634">
                  <c:v>58.936539795566986</c:v>
                </c:pt>
                <c:pt idx="2635">
                  <c:v>58.16113368554057</c:v>
                </c:pt>
                <c:pt idx="2636">
                  <c:v>57.935535201562153</c:v>
                </c:pt>
                <c:pt idx="2637">
                  <c:v>58.527199150109304</c:v>
                </c:pt>
                <c:pt idx="2638">
                  <c:v>57.055133570690444</c:v>
                </c:pt>
                <c:pt idx="2639">
                  <c:v>57.035269553233228</c:v>
                </c:pt>
                <c:pt idx="2640">
                  <c:v>57.035269553233228</c:v>
                </c:pt>
                <c:pt idx="2641">
                  <c:v>57.035269553233228</c:v>
                </c:pt>
                <c:pt idx="2642">
                  <c:v>57.035269553233228</c:v>
                </c:pt>
                <c:pt idx="2643">
                  <c:v>57.035269553233228</c:v>
                </c:pt>
                <c:pt idx="2644">
                  <c:v>57.035269553233228</c:v>
                </c:pt>
                <c:pt idx="2645">
                  <c:v>55.591581141610391</c:v>
                </c:pt>
                <c:pt idx="2646">
                  <c:v>56.716026415527928</c:v>
                </c:pt>
                <c:pt idx="2647">
                  <c:v>56.716026415527928</c:v>
                </c:pt>
                <c:pt idx="2648">
                  <c:v>56.716026415527928</c:v>
                </c:pt>
                <c:pt idx="2649">
                  <c:v>56.716026415527928</c:v>
                </c:pt>
                <c:pt idx="2650">
                  <c:v>56.716026415527928</c:v>
                </c:pt>
                <c:pt idx="2651">
                  <c:v>56.996960376708579</c:v>
                </c:pt>
                <c:pt idx="2652">
                  <c:v>57.37012013322633</c:v>
                </c:pt>
                <c:pt idx="2653">
                  <c:v>58.859212013322811</c:v>
                </c:pt>
                <c:pt idx="2654">
                  <c:v>58.859212013322811</c:v>
                </c:pt>
                <c:pt idx="2655">
                  <c:v>58.859212013322811</c:v>
                </c:pt>
                <c:pt idx="2656">
                  <c:v>58.877657172390229</c:v>
                </c:pt>
                <c:pt idx="2657">
                  <c:v>59.336657861490956</c:v>
                </c:pt>
                <c:pt idx="2658">
                  <c:v>59.91697094291969</c:v>
                </c:pt>
                <c:pt idx="2659">
                  <c:v>59.709817618008692</c:v>
                </c:pt>
                <c:pt idx="2660">
                  <c:v>59.691372458941281</c:v>
                </c:pt>
                <c:pt idx="2661">
                  <c:v>59.691372458941281</c:v>
                </c:pt>
                <c:pt idx="2662">
                  <c:v>59.691372458941281</c:v>
                </c:pt>
                <c:pt idx="2663">
                  <c:v>59.359359595727774</c:v>
                </c:pt>
                <c:pt idx="2664">
                  <c:v>59.486347421614987</c:v>
                </c:pt>
                <c:pt idx="2665">
                  <c:v>59.606950384748103</c:v>
                </c:pt>
                <c:pt idx="2666">
                  <c:v>59.562256345469365</c:v>
                </c:pt>
                <c:pt idx="2667">
                  <c:v>60.573902377397701</c:v>
                </c:pt>
                <c:pt idx="2668">
                  <c:v>60.573902377397701</c:v>
                </c:pt>
                <c:pt idx="2669">
                  <c:v>60.573902377397701</c:v>
                </c:pt>
                <c:pt idx="2670">
                  <c:v>60.654777305616378</c:v>
                </c:pt>
                <c:pt idx="2671">
                  <c:v>60.084396232916255</c:v>
                </c:pt>
                <c:pt idx="2672">
                  <c:v>59.77082852877016</c:v>
                </c:pt>
                <c:pt idx="2673">
                  <c:v>59.546648903181548</c:v>
                </c:pt>
                <c:pt idx="2674">
                  <c:v>59.376385896405395</c:v>
                </c:pt>
                <c:pt idx="2675">
                  <c:v>59.376385896405395</c:v>
                </c:pt>
                <c:pt idx="2676">
                  <c:v>59.376385896405395</c:v>
                </c:pt>
                <c:pt idx="2677">
                  <c:v>58.748541058918313</c:v>
                </c:pt>
                <c:pt idx="2678">
                  <c:v>59.227405765476263</c:v>
                </c:pt>
                <c:pt idx="2679">
                  <c:v>59.218183185942557</c:v>
                </c:pt>
                <c:pt idx="2680">
                  <c:v>59.259330079246794</c:v>
                </c:pt>
                <c:pt idx="2681">
                  <c:v>59.401925347421837</c:v>
                </c:pt>
                <c:pt idx="2682">
                  <c:v>59.401925347421837</c:v>
                </c:pt>
                <c:pt idx="2683">
                  <c:v>59.401925347421837</c:v>
                </c:pt>
                <c:pt idx="2684">
                  <c:v>59.522528310554947</c:v>
                </c:pt>
                <c:pt idx="2685">
                  <c:v>60.559713793499704</c:v>
                </c:pt>
                <c:pt idx="2686">
                  <c:v>60.239761226599505</c:v>
                </c:pt>
                <c:pt idx="2687">
                  <c:v>60.079430228551956</c:v>
                </c:pt>
                <c:pt idx="2688">
                  <c:v>58.965626392557915</c:v>
                </c:pt>
                <c:pt idx="2689">
                  <c:v>58.965626392557915</c:v>
                </c:pt>
                <c:pt idx="2690">
                  <c:v>58.965626392557915</c:v>
                </c:pt>
                <c:pt idx="2691">
                  <c:v>59.32743528195725</c:v>
                </c:pt>
                <c:pt idx="2692">
                  <c:v>60.126252555415384</c:v>
                </c:pt>
                <c:pt idx="2693">
                  <c:v>60.949190421500148</c:v>
                </c:pt>
                <c:pt idx="2694">
                  <c:v>60.490899161594321</c:v>
                </c:pt>
                <c:pt idx="2695">
                  <c:v>61.401096818651865</c:v>
                </c:pt>
                <c:pt idx="2696">
                  <c:v>61.401096818651865</c:v>
                </c:pt>
                <c:pt idx="2697">
                  <c:v>61.401096818651865</c:v>
                </c:pt>
                <c:pt idx="2698">
                  <c:v>61.454304008269418</c:v>
                </c:pt>
                <c:pt idx="2699">
                  <c:v>61.346470770644522</c:v>
                </c:pt>
                <c:pt idx="2700">
                  <c:v>61.17975490984287</c:v>
                </c:pt>
                <c:pt idx="2701">
                  <c:v>61.538726082462603</c:v>
                </c:pt>
                <c:pt idx="2702">
                  <c:v>61.862225795337295</c:v>
                </c:pt>
                <c:pt idx="2703">
                  <c:v>61.862225795337295</c:v>
                </c:pt>
                <c:pt idx="2704">
                  <c:v>61.862225795337295</c:v>
                </c:pt>
                <c:pt idx="2705">
                  <c:v>62.075763983002396</c:v>
                </c:pt>
                <c:pt idx="2706">
                  <c:v>62.034617089698152</c:v>
                </c:pt>
                <c:pt idx="2707">
                  <c:v>61.770709429195115</c:v>
                </c:pt>
                <c:pt idx="2708">
                  <c:v>61.385489376364056</c:v>
                </c:pt>
                <c:pt idx="2709">
                  <c:v>61.476296313311344</c:v>
                </c:pt>
                <c:pt idx="2710">
                  <c:v>61.476296313311344</c:v>
                </c:pt>
                <c:pt idx="2711">
                  <c:v>61.476296313311344</c:v>
                </c:pt>
                <c:pt idx="2712">
                  <c:v>61.718211668772469</c:v>
                </c:pt>
                <c:pt idx="2713">
                  <c:v>61.762905708051207</c:v>
                </c:pt>
                <c:pt idx="2714">
                  <c:v>61.989213621224515</c:v>
                </c:pt>
                <c:pt idx="2715">
                  <c:v>61.566393821063734</c:v>
                </c:pt>
                <c:pt idx="2716">
                  <c:v>61.273399563569761</c:v>
                </c:pt>
                <c:pt idx="2717">
                  <c:v>61.273399563569761</c:v>
                </c:pt>
                <c:pt idx="2718">
                  <c:v>61.273399563569761</c:v>
                </c:pt>
                <c:pt idx="2719">
                  <c:v>61.283331572298366</c:v>
                </c:pt>
                <c:pt idx="2720">
                  <c:v>61.472039738141937</c:v>
                </c:pt>
                <c:pt idx="2721">
                  <c:v>62.004111634317432</c:v>
                </c:pt>
                <c:pt idx="2722">
                  <c:v>62.543277822441929</c:v>
                </c:pt>
                <c:pt idx="2723">
                  <c:v>62.458146319053846</c:v>
                </c:pt>
                <c:pt idx="2724">
                  <c:v>62.458146319053846</c:v>
                </c:pt>
                <c:pt idx="2725">
                  <c:v>62.458146319053846</c:v>
                </c:pt>
                <c:pt idx="2726">
                  <c:v>62.832724933961394</c:v>
                </c:pt>
                <c:pt idx="2727">
                  <c:v>63.141326633743184</c:v>
                </c:pt>
                <c:pt idx="2728">
                  <c:v>62.87954726082485</c:v>
                </c:pt>
                <c:pt idx="2729">
                  <c:v>63.046263121626502</c:v>
                </c:pt>
                <c:pt idx="2730">
                  <c:v>61.992051338004124</c:v>
                </c:pt>
                <c:pt idx="2731">
                  <c:v>61.992051338004124</c:v>
                </c:pt>
                <c:pt idx="2732">
                  <c:v>61.992051338004124</c:v>
                </c:pt>
                <c:pt idx="2733">
                  <c:v>61.394002526702863</c:v>
                </c:pt>
                <c:pt idx="2734">
                  <c:v>61.562137245894313</c:v>
                </c:pt>
                <c:pt idx="2735">
                  <c:v>61.52240921097988</c:v>
                </c:pt>
                <c:pt idx="2736">
                  <c:v>61.502545193522657</c:v>
                </c:pt>
                <c:pt idx="2737">
                  <c:v>61.231543241070611</c:v>
                </c:pt>
                <c:pt idx="2738">
                  <c:v>61.231543241070611</c:v>
                </c:pt>
                <c:pt idx="2739">
                  <c:v>61.231543241070611</c:v>
                </c:pt>
                <c:pt idx="2740">
                  <c:v>61.93742528999676</c:v>
                </c:pt>
                <c:pt idx="2741">
                  <c:v>62.368758240496362</c:v>
                </c:pt>
                <c:pt idx="2742">
                  <c:v>62.778098885954037</c:v>
                </c:pt>
                <c:pt idx="2743">
                  <c:v>62.419837142529211</c:v>
                </c:pt>
                <c:pt idx="2744">
                  <c:v>62.769585735615223</c:v>
                </c:pt>
                <c:pt idx="2745">
                  <c:v>62.769585735615223</c:v>
                </c:pt>
                <c:pt idx="2746">
                  <c:v>62.769585735615223</c:v>
                </c:pt>
                <c:pt idx="2747">
                  <c:v>63.156224646836094</c:v>
                </c:pt>
                <c:pt idx="2748">
                  <c:v>62.521994946594901</c:v>
                </c:pt>
                <c:pt idx="2749">
                  <c:v>62.780227173538755</c:v>
                </c:pt>
                <c:pt idx="2750">
                  <c:v>62.722763408751796</c:v>
                </c:pt>
                <c:pt idx="2751">
                  <c:v>62.80505719536027</c:v>
                </c:pt>
                <c:pt idx="2752">
                  <c:v>62.80505719536027</c:v>
                </c:pt>
                <c:pt idx="2753">
                  <c:v>62.80505719536027</c:v>
                </c:pt>
                <c:pt idx="2754">
                  <c:v>63.141326633743184</c:v>
                </c:pt>
                <c:pt idx="2755">
                  <c:v>63.081734581371535</c:v>
                </c:pt>
                <c:pt idx="2756">
                  <c:v>63.164028367980009</c:v>
                </c:pt>
                <c:pt idx="2757">
                  <c:v>63.164028367980009</c:v>
                </c:pt>
                <c:pt idx="2758">
                  <c:v>63.164028367980009</c:v>
                </c:pt>
                <c:pt idx="2759">
                  <c:v>63.164028367980009</c:v>
                </c:pt>
                <c:pt idx="2760">
                  <c:v>63.164028367980009</c:v>
                </c:pt>
                <c:pt idx="2761">
                  <c:v>63.164028367980009</c:v>
                </c:pt>
                <c:pt idx="2762">
                  <c:v>63.443543470770855</c:v>
                </c:pt>
                <c:pt idx="2763">
                  <c:v>63.302367060985624</c:v>
                </c:pt>
                <c:pt idx="2764">
                  <c:v>62.830596646376691</c:v>
                </c:pt>
                <c:pt idx="2765">
                  <c:v>62.679488227862848</c:v>
                </c:pt>
                <c:pt idx="2766">
                  <c:v>62.679488227862848</c:v>
                </c:pt>
                <c:pt idx="2767">
                  <c:v>62.679488227862848</c:v>
                </c:pt>
                <c:pt idx="2768">
                  <c:v>62.702189962099666</c:v>
                </c:pt>
                <c:pt idx="2769">
                  <c:v>62.49432720799377</c:v>
                </c:pt>
                <c:pt idx="2770">
                  <c:v>62.49432720799377</c:v>
                </c:pt>
                <c:pt idx="2771">
                  <c:v>62.178631216262986</c:v>
                </c:pt>
                <c:pt idx="2772">
                  <c:v>62.484395199265165</c:v>
                </c:pt>
                <c:pt idx="2773">
                  <c:v>62.484395199265165</c:v>
                </c:pt>
                <c:pt idx="2774">
                  <c:v>62.484395199265165</c:v>
                </c:pt>
                <c:pt idx="2775">
                  <c:v>61.969349603767284</c:v>
                </c:pt>
                <c:pt idx="2776">
                  <c:v>61.735237969450068</c:v>
                </c:pt>
                <c:pt idx="2777">
                  <c:v>61.847327782244363</c:v>
                </c:pt>
                <c:pt idx="2778">
                  <c:v>60.950609279889939</c:v>
                </c:pt>
                <c:pt idx="2779">
                  <c:v>61.789864017457425</c:v>
                </c:pt>
                <c:pt idx="2780">
                  <c:v>61.789864017457425</c:v>
                </c:pt>
                <c:pt idx="2781">
                  <c:v>61.789864017457425</c:v>
                </c:pt>
                <c:pt idx="2782">
                  <c:v>61.081853680946566</c:v>
                </c:pt>
                <c:pt idx="2783">
                  <c:v>61.323059607212791</c:v>
                </c:pt>
                <c:pt idx="2784">
                  <c:v>61.475586884116424</c:v>
                </c:pt>
                <c:pt idx="2785">
                  <c:v>62.606417020788079</c:v>
                </c:pt>
                <c:pt idx="2786">
                  <c:v>62.606417020788079</c:v>
                </c:pt>
                <c:pt idx="2787">
                  <c:v>62.606417020788079</c:v>
                </c:pt>
                <c:pt idx="2788">
                  <c:v>62.606417020788079</c:v>
                </c:pt>
                <c:pt idx="2789">
                  <c:v>62.790868611462251</c:v>
                </c:pt>
                <c:pt idx="2790">
                  <c:v>63.122172045480852</c:v>
                </c:pt>
                <c:pt idx="2791">
                  <c:v>63.049810267600982</c:v>
                </c:pt>
                <c:pt idx="2792">
                  <c:v>61.657200758010994</c:v>
                </c:pt>
                <c:pt idx="2793">
                  <c:v>62.142450327323047</c:v>
                </c:pt>
                <c:pt idx="2794">
                  <c:v>62.142450327323047</c:v>
                </c:pt>
                <c:pt idx="2795">
                  <c:v>62.142450327323047</c:v>
                </c:pt>
                <c:pt idx="2796">
                  <c:v>62.179340645457877</c:v>
                </c:pt>
                <c:pt idx="2797">
                  <c:v>61.923236706098741</c:v>
                </c:pt>
                <c:pt idx="2798">
                  <c:v>60.522823475364845</c:v>
                </c:pt>
                <c:pt idx="2799">
                  <c:v>60.522823475364845</c:v>
                </c:pt>
                <c:pt idx="2800">
                  <c:v>60.449752268290077</c:v>
                </c:pt>
                <c:pt idx="2801">
                  <c:v>60.449752268290077</c:v>
                </c:pt>
                <c:pt idx="2802">
                  <c:v>60.449752268290077</c:v>
                </c:pt>
                <c:pt idx="2803">
                  <c:v>61.234380957850199</c:v>
                </c:pt>
                <c:pt idx="2804">
                  <c:v>60.993175031583974</c:v>
                </c:pt>
                <c:pt idx="2805">
                  <c:v>61.088238543700669</c:v>
                </c:pt>
                <c:pt idx="2806">
                  <c:v>61.17266061789384</c:v>
                </c:pt>
                <c:pt idx="2807">
                  <c:v>61.638046169748669</c:v>
                </c:pt>
                <c:pt idx="2808">
                  <c:v>61.638046169748669</c:v>
                </c:pt>
                <c:pt idx="2809">
                  <c:v>61.638046169748669</c:v>
                </c:pt>
                <c:pt idx="2810">
                  <c:v>61.638046169748669</c:v>
                </c:pt>
                <c:pt idx="2811">
                  <c:v>62.067250832663561</c:v>
                </c:pt>
                <c:pt idx="2812">
                  <c:v>61.000269323532976</c:v>
                </c:pt>
                <c:pt idx="2813">
                  <c:v>60.953446996669534</c:v>
                </c:pt>
                <c:pt idx="2814">
                  <c:v>61.093913977259852</c:v>
                </c:pt>
                <c:pt idx="2815">
                  <c:v>61.093913977259852</c:v>
                </c:pt>
                <c:pt idx="2816">
                  <c:v>61.093913977259852</c:v>
                </c:pt>
                <c:pt idx="2817">
                  <c:v>60.759772826461649</c:v>
                </c:pt>
                <c:pt idx="2818">
                  <c:v>61.481262317675608</c:v>
                </c:pt>
                <c:pt idx="2819">
                  <c:v>61.402515677041634</c:v>
                </c:pt>
                <c:pt idx="2820">
                  <c:v>61.756520845297061</c:v>
                </c:pt>
                <c:pt idx="2821">
                  <c:v>61.84449006546474</c:v>
                </c:pt>
                <c:pt idx="2822">
                  <c:v>61.84449006546474</c:v>
                </c:pt>
                <c:pt idx="2823">
                  <c:v>61.84449006546474</c:v>
                </c:pt>
                <c:pt idx="2824">
                  <c:v>61.686287355001895</c:v>
                </c:pt>
                <c:pt idx="2825">
                  <c:v>61.123710003445673</c:v>
                </c:pt>
                <c:pt idx="2826">
                  <c:v>61.06269909268422</c:v>
                </c:pt>
                <c:pt idx="2827">
                  <c:v>61.308871023314744</c:v>
                </c:pt>
                <c:pt idx="2828">
                  <c:v>61.339376478695463</c:v>
                </c:pt>
                <c:pt idx="2829">
                  <c:v>61.339376478695463</c:v>
                </c:pt>
                <c:pt idx="2830">
                  <c:v>61.339376478695463</c:v>
                </c:pt>
                <c:pt idx="2831">
                  <c:v>62.353860227403395</c:v>
                </c:pt>
                <c:pt idx="2832">
                  <c:v>62.248864706558102</c:v>
                </c:pt>
                <c:pt idx="2833">
                  <c:v>62.429059722062874</c:v>
                </c:pt>
                <c:pt idx="2834">
                  <c:v>63.037040542092733</c:v>
                </c:pt>
                <c:pt idx="2835">
                  <c:v>62.834143792351156</c:v>
                </c:pt>
                <c:pt idx="2836">
                  <c:v>62.834143792351156</c:v>
                </c:pt>
                <c:pt idx="2837">
                  <c:v>62.834143792351156</c:v>
                </c:pt>
                <c:pt idx="2838">
                  <c:v>63.222201561961811</c:v>
                </c:pt>
                <c:pt idx="2839">
                  <c:v>62.655367635236182</c:v>
                </c:pt>
                <c:pt idx="2840">
                  <c:v>62.64827334328718</c:v>
                </c:pt>
                <c:pt idx="2841">
                  <c:v>62.678069369473</c:v>
                </c:pt>
                <c:pt idx="2842">
                  <c:v>62.555338118755188</c:v>
                </c:pt>
                <c:pt idx="2843">
                  <c:v>62.555338118755188</c:v>
                </c:pt>
                <c:pt idx="2844">
                  <c:v>62.555338118755188</c:v>
                </c:pt>
                <c:pt idx="2845">
                  <c:v>62.465240611002805</c:v>
                </c:pt>
                <c:pt idx="2846">
                  <c:v>62.011915355461284</c:v>
                </c:pt>
                <c:pt idx="2847">
                  <c:v>61.567103250258576</c:v>
                </c:pt>
                <c:pt idx="2848">
                  <c:v>61.14499287929268</c:v>
                </c:pt>
                <c:pt idx="2849">
                  <c:v>61.239346962214469</c:v>
                </c:pt>
                <c:pt idx="2850">
                  <c:v>61.239346962214469</c:v>
                </c:pt>
                <c:pt idx="2851">
                  <c:v>61.239346962214469</c:v>
                </c:pt>
                <c:pt idx="2852">
                  <c:v>61.3847799471691</c:v>
                </c:pt>
                <c:pt idx="2853">
                  <c:v>62.056609394740022</c:v>
                </c:pt>
                <c:pt idx="2854">
                  <c:v>61.853712644998431</c:v>
                </c:pt>
                <c:pt idx="2855">
                  <c:v>61.280493855518699</c:v>
                </c:pt>
                <c:pt idx="2856">
                  <c:v>61.535888365682936</c:v>
                </c:pt>
                <c:pt idx="2857">
                  <c:v>61.535888365682936</c:v>
                </c:pt>
                <c:pt idx="2858">
                  <c:v>61.535888365682936</c:v>
                </c:pt>
                <c:pt idx="2859">
                  <c:v>61.371300792465995</c:v>
                </c:pt>
                <c:pt idx="2860">
                  <c:v>60.471744573331961</c:v>
                </c:pt>
                <c:pt idx="2861">
                  <c:v>60.949899850695004</c:v>
                </c:pt>
                <c:pt idx="2862">
                  <c:v>61.242184678994079</c:v>
                </c:pt>
                <c:pt idx="2863">
                  <c:v>60.555457218330247</c:v>
                </c:pt>
                <c:pt idx="2864">
                  <c:v>60.555457218330247</c:v>
                </c:pt>
                <c:pt idx="2865">
                  <c:v>60.555457218330247</c:v>
                </c:pt>
                <c:pt idx="2866">
                  <c:v>59.181292867807677</c:v>
                </c:pt>
                <c:pt idx="2867">
                  <c:v>59.413985643735089</c:v>
                </c:pt>
                <c:pt idx="2868">
                  <c:v>58.906743769381123</c:v>
                </c:pt>
                <c:pt idx="2869">
                  <c:v>59.779341679108931</c:v>
                </c:pt>
                <c:pt idx="2870">
                  <c:v>59.43739680716682</c:v>
                </c:pt>
                <c:pt idx="2871">
                  <c:v>59.43739680716682</c:v>
                </c:pt>
                <c:pt idx="2872">
                  <c:v>59.43739680716682</c:v>
                </c:pt>
                <c:pt idx="2873">
                  <c:v>59.235918915815034</c:v>
                </c:pt>
                <c:pt idx="2874">
                  <c:v>59.78927368783755</c:v>
                </c:pt>
                <c:pt idx="2875">
                  <c:v>58.362611576892327</c:v>
                </c:pt>
                <c:pt idx="2876">
                  <c:v>58.026342138509413</c:v>
                </c:pt>
                <c:pt idx="2877">
                  <c:v>58.675469851843516</c:v>
                </c:pt>
                <c:pt idx="2878">
                  <c:v>58.675469851843516</c:v>
                </c:pt>
                <c:pt idx="2879">
                  <c:v>58.675469851843516</c:v>
                </c:pt>
                <c:pt idx="2880">
                  <c:v>59.645968990467615</c:v>
                </c:pt>
                <c:pt idx="2881">
                  <c:v>59.573607212587753</c:v>
                </c:pt>
                <c:pt idx="2882">
                  <c:v>59.92051808889417</c:v>
                </c:pt>
                <c:pt idx="2883">
                  <c:v>59.949604685885085</c:v>
                </c:pt>
                <c:pt idx="2884">
                  <c:v>59.614754105891983</c:v>
                </c:pt>
                <c:pt idx="2885">
                  <c:v>59.614754105891983</c:v>
                </c:pt>
                <c:pt idx="2886">
                  <c:v>59.614754105891983</c:v>
                </c:pt>
                <c:pt idx="2887">
                  <c:v>59.147240266452449</c:v>
                </c:pt>
                <c:pt idx="2888">
                  <c:v>59.675765016653429</c:v>
                </c:pt>
                <c:pt idx="2889">
                  <c:v>59.597727805214362</c:v>
                </c:pt>
                <c:pt idx="2890">
                  <c:v>60.489480303204488</c:v>
                </c:pt>
                <c:pt idx="2891">
                  <c:v>61.102427127598659</c:v>
                </c:pt>
                <c:pt idx="2892">
                  <c:v>61.102427127598659</c:v>
                </c:pt>
                <c:pt idx="2893">
                  <c:v>61.102427127598659</c:v>
                </c:pt>
                <c:pt idx="2894">
                  <c:v>60.956994142644028</c:v>
                </c:pt>
                <c:pt idx="2895">
                  <c:v>60.344756747444762</c:v>
                </c:pt>
                <c:pt idx="2896">
                  <c:v>60.90520581141628</c:v>
                </c:pt>
                <c:pt idx="2897">
                  <c:v>62.167989778339454</c:v>
                </c:pt>
                <c:pt idx="2898">
                  <c:v>61.593352130469931</c:v>
                </c:pt>
                <c:pt idx="2899">
                  <c:v>61.593352130469931</c:v>
                </c:pt>
                <c:pt idx="2900">
                  <c:v>61.593352130469931</c:v>
                </c:pt>
                <c:pt idx="2901">
                  <c:v>61.540144940852386</c:v>
                </c:pt>
                <c:pt idx="2902">
                  <c:v>61.841652348685173</c:v>
                </c:pt>
                <c:pt idx="2903">
                  <c:v>62.773842310784644</c:v>
                </c:pt>
                <c:pt idx="2904">
                  <c:v>62.616349029516698</c:v>
                </c:pt>
                <c:pt idx="2905">
                  <c:v>63.020014241415183</c:v>
                </c:pt>
                <c:pt idx="2906">
                  <c:v>63.020014241415183</c:v>
                </c:pt>
                <c:pt idx="2907">
                  <c:v>63.020014241415183</c:v>
                </c:pt>
                <c:pt idx="2908">
                  <c:v>63.81670322728862</c:v>
                </c:pt>
                <c:pt idx="2909">
                  <c:v>63.168284943149423</c:v>
                </c:pt>
                <c:pt idx="2910">
                  <c:v>63.812446652119228</c:v>
                </c:pt>
                <c:pt idx="2911">
                  <c:v>63.74292259101896</c:v>
                </c:pt>
                <c:pt idx="2912">
                  <c:v>64.196957275755381</c:v>
                </c:pt>
                <c:pt idx="2913">
                  <c:v>64.196957275755381</c:v>
                </c:pt>
                <c:pt idx="2914">
                  <c:v>64.196957275755381</c:v>
                </c:pt>
                <c:pt idx="2915">
                  <c:v>63.696100264155525</c:v>
                </c:pt>
                <c:pt idx="2916">
                  <c:v>63.198790398530164</c:v>
                </c:pt>
                <c:pt idx="2917">
                  <c:v>62.44112001837626</c:v>
                </c:pt>
                <c:pt idx="2918">
                  <c:v>62.479429194900895</c:v>
                </c:pt>
                <c:pt idx="2919">
                  <c:v>62.73198598828553</c:v>
                </c:pt>
                <c:pt idx="2920">
                  <c:v>62.73198598828553</c:v>
                </c:pt>
                <c:pt idx="2921">
                  <c:v>62.73198598828553</c:v>
                </c:pt>
                <c:pt idx="2922">
                  <c:v>62.89799241989229</c:v>
                </c:pt>
                <c:pt idx="2923">
                  <c:v>62.92424130010361</c:v>
                </c:pt>
                <c:pt idx="2924">
                  <c:v>61.55433352475044</c:v>
                </c:pt>
                <c:pt idx="2925">
                  <c:v>60.73068622947077</c:v>
                </c:pt>
                <c:pt idx="2926">
                  <c:v>61.656491328816138</c:v>
                </c:pt>
                <c:pt idx="2927">
                  <c:v>61.656491328816138</c:v>
                </c:pt>
                <c:pt idx="2928">
                  <c:v>61.656491328816138</c:v>
                </c:pt>
                <c:pt idx="2929">
                  <c:v>62.702899391294601</c:v>
                </c:pt>
                <c:pt idx="2930">
                  <c:v>61.917561272539572</c:v>
                </c:pt>
                <c:pt idx="2931">
                  <c:v>61.82746376478719</c:v>
                </c:pt>
                <c:pt idx="2932">
                  <c:v>62.339671643505469</c:v>
                </c:pt>
                <c:pt idx="2933">
                  <c:v>62.857554955782945</c:v>
                </c:pt>
                <c:pt idx="2934">
                  <c:v>62.857554955782945</c:v>
                </c:pt>
                <c:pt idx="2935">
                  <c:v>62.857554955782945</c:v>
                </c:pt>
                <c:pt idx="2936">
                  <c:v>62.07434512461262</c:v>
                </c:pt>
                <c:pt idx="2937">
                  <c:v>62.447504881130371</c:v>
                </c:pt>
                <c:pt idx="2938">
                  <c:v>62.948361892730226</c:v>
                </c:pt>
                <c:pt idx="2939">
                  <c:v>63.398140002297247</c:v>
                </c:pt>
                <c:pt idx="2940">
                  <c:v>63.360540254967511</c:v>
                </c:pt>
                <c:pt idx="2941">
                  <c:v>63.360540254967511</c:v>
                </c:pt>
                <c:pt idx="2942">
                  <c:v>63.360540254967511</c:v>
                </c:pt>
                <c:pt idx="2943">
                  <c:v>63.809608935339625</c:v>
                </c:pt>
                <c:pt idx="2944">
                  <c:v>63.771299758814983</c:v>
                </c:pt>
                <c:pt idx="2945">
                  <c:v>63.273280463994723</c:v>
                </c:pt>
                <c:pt idx="2946">
                  <c:v>64.314013092913981</c:v>
                </c:pt>
                <c:pt idx="2947">
                  <c:v>64.030241414953721</c:v>
                </c:pt>
                <c:pt idx="2948">
                  <c:v>64.030241414953721</c:v>
                </c:pt>
                <c:pt idx="2949">
                  <c:v>64.030241414953721</c:v>
                </c:pt>
                <c:pt idx="2950">
                  <c:v>64.659505110830608</c:v>
                </c:pt>
                <c:pt idx="2951">
                  <c:v>64.392759733547962</c:v>
                </c:pt>
                <c:pt idx="2952">
                  <c:v>64.309756517744589</c:v>
                </c:pt>
                <c:pt idx="2953">
                  <c:v>63.71028884805353</c:v>
                </c:pt>
                <c:pt idx="2954">
                  <c:v>64.106859768002991</c:v>
                </c:pt>
                <c:pt idx="2955">
                  <c:v>64.106859768002991</c:v>
                </c:pt>
                <c:pt idx="2956">
                  <c:v>64.106859768002991</c:v>
                </c:pt>
                <c:pt idx="2957">
                  <c:v>64.42397461812358</c:v>
                </c:pt>
                <c:pt idx="2958">
                  <c:v>64.437453772826686</c:v>
                </c:pt>
                <c:pt idx="2959">
                  <c:v>64.587143332950731</c:v>
                </c:pt>
                <c:pt idx="2960">
                  <c:v>65.134822671414042</c:v>
                </c:pt>
                <c:pt idx="2961">
                  <c:v>64.985133111289997</c:v>
                </c:pt>
                <c:pt idx="2962">
                  <c:v>64.985133111289997</c:v>
                </c:pt>
                <c:pt idx="2963">
                  <c:v>64.985133111289997</c:v>
                </c:pt>
                <c:pt idx="2964">
                  <c:v>65.112830366372123</c:v>
                </c:pt>
                <c:pt idx="2965">
                  <c:v>64.94824279315516</c:v>
                </c:pt>
                <c:pt idx="2966">
                  <c:v>64.489242104054426</c:v>
                </c:pt>
                <c:pt idx="2967">
                  <c:v>64.403401171471444</c:v>
                </c:pt>
                <c:pt idx="2968">
                  <c:v>64.10260319283357</c:v>
                </c:pt>
                <c:pt idx="2969">
                  <c:v>64.10260319283357</c:v>
                </c:pt>
                <c:pt idx="2970">
                  <c:v>64.10260319283357</c:v>
                </c:pt>
                <c:pt idx="2971">
                  <c:v>64.035916848512912</c:v>
                </c:pt>
                <c:pt idx="2972">
                  <c:v>64.096218330079466</c:v>
                </c:pt>
                <c:pt idx="2973">
                  <c:v>63.907510164235894</c:v>
                </c:pt>
                <c:pt idx="2974">
                  <c:v>63.854302974618342</c:v>
                </c:pt>
                <c:pt idx="2975">
                  <c:v>64.543868152061776</c:v>
                </c:pt>
                <c:pt idx="2976">
                  <c:v>64.543868152061776</c:v>
                </c:pt>
                <c:pt idx="2977">
                  <c:v>64.543868152061776</c:v>
                </c:pt>
                <c:pt idx="2978">
                  <c:v>64.878718732054878</c:v>
                </c:pt>
                <c:pt idx="2979">
                  <c:v>64.626871367865149</c:v>
                </c:pt>
                <c:pt idx="2980">
                  <c:v>64.719806592397134</c:v>
                </c:pt>
                <c:pt idx="2981">
                  <c:v>64.441710347996079</c:v>
                </c:pt>
                <c:pt idx="2982">
                  <c:v>64.022437693809792</c:v>
                </c:pt>
                <c:pt idx="2983">
                  <c:v>64.022437693809792</c:v>
                </c:pt>
                <c:pt idx="2984">
                  <c:v>64.022437693809792</c:v>
                </c:pt>
                <c:pt idx="2985">
                  <c:v>63.196662110945418</c:v>
                </c:pt>
                <c:pt idx="2986">
                  <c:v>62.728438842310993</c:v>
                </c:pt>
                <c:pt idx="2987">
                  <c:v>63.752145170552637</c:v>
                </c:pt>
                <c:pt idx="2988">
                  <c:v>63.681911680257471</c:v>
                </c:pt>
                <c:pt idx="2989">
                  <c:v>64.30762823015985</c:v>
                </c:pt>
                <c:pt idx="2990">
                  <c:v>64.30762823015985</c:v>
                </c:pt>
                <c:pt idx="2991">
                  <c:v>64.30762823015985</c:v>
                </c:pt>
                <c:pt idx="2992">
                  <c:v>64.416170896979651</c:v>
                </c:pt>
                <c:pt idx="2993">
                  <c:v>64.140912369358205</c:v>
                </c:pt>
                <c:pt idx="2994">
                  <c:v>63.864234983346954</c:v>
                </c:pt>
                <c:pt idx="2995">
                  <c:v>64.21398357643298</c:v>
                </c:pt>
                <c:pt idx="2996">
                  <c:v>64.656667394050999</c:v>
                </c:pt>
                <c:pt idx="2997">
                  <c:v>64.656667394050999</c:v>
                </c:pt>
                <c:pt idx="2998">
                  <c:v>64.656667394050999</c:v>
                </c:pt>
                <c:pt idx="2999">
                  <c:v>64.99435569082371</c:v>
                </c:pt>
                <c:pt idx="3000">
                  <c:v>64.843956701504766</c:v>
                </c:pt>
                <c:pt idx="3001">
                  <c:v>65.019895141840124</c:v>
                </c:pt>
                <c:pt idx="3002">
                  <c:v>65.449099804755022</c:v>
                </c:pt>
                <c:pt idx="3003">
                  <c:v>65.849927299873897</c:v>
                </c:pt>
                <c:pt idx="3004">
                  <c:v>65.849927299873897</c:v>
                </c:pt>
                <c:pt idx="3005">
                  <c:v>65.849927299873897</c:v>
                </c:pt>
                <c:pt idx="3006">
                  <c:v>66.345818307109454</c:v>
                </c:pt>
                <c:pt idx="3007">
                  <c:v>66.345818307109454</c:v>
                </c:pt>
                <c:pt idx="3008">
                  <c:v>66.345818307109454</c:v>
                </c:pt>
                <c:pt idx="3009">
                  <c:v>66.345818307109454</c:v>
                </c:pt>
                <c:pt idx="3010">
                  <c:v>66.252883082577469</c:v>
                </c:pt>
                <c:pt idx="3011">
                  <c:v>66.252883082577469</c:v>
                </c:pt>
                <c:pt idx="3012">
                  <c:v>66.252883082577469</c:v>
                </c:pt>
                <c:pt idx="3013">
                  <c:v>66.079782359021721</c:v>
                </c:pt>
                <c:pt idx="3014">
                  <c:v>66.079782359021721</c:v>
                </c:pt>
                <c:pt idx="3015">
                  <c:v>66.079782359021721</c:v>
                </c:pt>
                <c:pt idx="3016">
                  <c:v>66.776441828414164</c:v>
                </c:pt>
                <c:pt idx="3017">
                  <c:v>66.876471344895151</c:v>
                </c:pt>
                <c:pt idx="3018">
                  <c:v>66.876471344895151</c:v>
                </c:pt>
                <c:pt idx="3019">
                  <c:v>66.876471344895151</c:v>
                </c:pt>
                <c:pt idx="3020">
                  <c:v>66.690600895831182</c:v>
                </c:pt>
                <c:pt idx="3021">
                  <c:v>66.501892729987603</c:v>
                </c:pt>
                <c:pt idx="3022">
                  <c:v>66.579220512231785</c:v>
                </c:pt>
                <c:pt idx="3023">
                  <c:v>66.565031928333767</c:v>
                </c:pt>
                <c:pt idx="3024">
                  <c:v>66.642359710577949</c:v>
                </c:pt>
                <c:pt idx="3025">
                  <c:v>66.642359710577949</c:v>
                </c:pt>
                <c:pt idx="3026">
                  <c:v>66.642359710577949</c:v>
                </c:pt>
                <c:pt idx="3027">
                  <c:v>66.731038359940527</c:v>
                </c:pt>
                <c:pt idx="3028">
                  <c:v>66.587733662570599</c:v>
                </c:pt>
                <c:pt idx="3029">
                  <c:v>66.474224991386492</c:v>
                </c:pt>
                <c:pt idx="3030">
                  <c:v>66.444428965200672</c:v>
                </c:pt>
                <c:pt idx="3031">
                  <c:v>67.156695876880931</c:v>
                </c:pt>
                <c:pt idx="3032">
                  <c:v>67.156695876880931</c:v>
                </c:pt>
                <c:pt idx="3033">
                  <c:v>67.156695876880931</c:v>
                </c:pt>
                <c:pt idx="3034">
                  <c:v>67.126899850695111</c:v>
                </c:pt>
                <c:pt idx="3035">
                  <c:v>66.805528425405114</c:v>
                </c:pt>
                <c:pt idx="3036">
                  <c:v>66.963021706673061</c:v>
                </c:pt>
                <c:pt idx="3037">
                  <c:v>65.99748857241326</c:v>
                </c:pt>
                <c:pt idx="3038">
                  <c:v>66.685634891466904</c:v>
                </c:pt>
                <c:pt idx="3039">
                  <c:v>66.685634891466904</c:v>
                </c:pt>
                <c:pt idx="3040">
                  <c:v>66.685634891466904</c:v>
                </c:pt>
                <c:pt idx="3041">
                  <c:v>65.360421155392473</c:v>
                </c:pt>
                <c:pt idx="3042">
                  <c:v>65.671860571953871</c:v>
                </c:pt>
                <c:pt idx="3043">
                  <c:v>65.644902262547646</c:v>
                </c:pt>
                <c:pt idx="3044">
                  <c:v>64.974491673366515</c:v>
                </c:pt>
                <c:pt idx="3045">
                  <c:v>64.828349259216978</c:v>
                </c:pt>
                <c:pt idx="3046">
                  <c:v>64.828349259216978</c:v>
                </c:pt>
                <c:pt idx="3047">
                  <c:v>64.828349259216978</c:v>
                </c:pt>
                <c:pt idx="3048">
                  <c:v>64.841118984725199</c:v>
                </c:pt>
                <c:pt idx="3049">
                  <c:v>65.078068335822024</c:v>
                </c:pt>
                <c:pt idx="3050">
                  <c:v>66.042182611692013</c:v>
                </c:pt>
                <c:pt idx="3051">
                  <c:v>66.421017801768969</c:v>
                </c:pt>
                <c:pt idx="3052">
                  <c:v>65.32565912484236</c:v>
                </c:pt>
                <c:pt idx="3053">
                  <c:v>65.32565912484236</c:v>
                </c:pt>
                <c:pt idx="3054">
                  <c:v>65.32565912484236</c:v>
                </c:pt>
                <c:pt idx="3055">
                  <c:v>64.717678304812495</c:v>
                </c:pt>
                <c:pt idx="3056">
                  <c:v>65.669022855174262</c:v>
                </c:pt>
                <c:pt idx="3057">
                  <c:v>66.031541173768503</c:v>
                </c:pt>
                <c:pt idx="3058">
                  <c:v>65.710879177673405</c:v>
                </c:pt>
                <c:pt idx="3059">
                  <c:v>65.922998506948701</c:v>
                </c:pt>
                <c:pt idx="3060">
                  <c:v>65.922998506948701</c:v>
                </c:pt>
                <c:pt idx="3061">
                  <c:v>65.922998506948701</c:v>
                </c:pt>
                <c:pt idx="3062">
                  <c:v>65.833610428391211</c:v>
                </c:pt>
                <c:pt idx="3063">
                  <c:v>65.741384633054125</c:v>
                </c:pt>
                <c:pt idx="3064">
                  <c:v>66.326663718847172</c:v>
                </c:pt>
                <c:pt idx="3065">
                  <c:v>66.891369357988097</c:v>
                </c:pt>
                <c:pt idx="3066">
                  <c:v>66.452232686344587</c:v>
                </c:pt>
                <c:pt idx="3067">
                  <c:v>66.452232686344587</c:v>
                </c:pt>
                <c:pt idx="3068">
                  <c:v>66.452232686344587</c:v>
                </c:pt>
                <c:pt idx="3069">
                  <c:v>63.735118869875066</c:v>
                </c:pt>
                <c:pt idx="3070">
                  <c:v>63.492494085219043</c:v>
                </c:pt>
                <c:pt idx="3071">
                  <c:v>62.889479269553483</c:v>
                </c:pt>
                <c:pt idx="3072">
                  <c:v>59.818360284828543</c:v>
                </c:pt>
                <c:pt idx="3073">
                  <c:v>58.901068335821989</c:v>
                </c:pt>
                <c:pt idx="3074">
                  <c:v>58.901068335821989</c:v>
                </c:pt>
                <c:pt idx="3075">
                  <c:v>58.901068335821989</c:v>
                </c:pt>
                <c:pt idx="3076">
                  <c:v>59.15433455840153</c:v>
                </c:pt>
                <c:pt idx="3077">
                  <c:v>60.952028138279786</c:v>
                </c:pt>
                <c:pt idx="3078">
                  <c:v>60.910881244975556</c:v>
                </c:pt>
                <c:pt idx="3079">
                  <c:v>59.483509704835434</c:v>
                </c:pt>
                <c:pt idx="3080">
                  <c:v>56.849399104169294</c:v>
                </c:pt>
                <c:pt idx="3081">
                  <c:v>56.849399104169294</c:v>
                </c:pt>
                <c:pt idx="3082">
                  <c:v>56.849399104169294</c:v>
                </c:pt>
                <c:pt idx="3083">
                  <c:v>52.219664178247605</c:v>
                </c:pt>
                <c:pt idx="3084">
                  <c:v>52.475058688411828</c:v>
                </c:pt>
                <c:pt idx="3085">
                  <c:v>50.59081474675569</c:v>
                </c:pt>
                <c:pt idx="3086">
                  <c:v>46.155463420236785</c:v>
                </c:pt>
                <c:pt idx="3087">
                  <c:v>47.892146089353602</c:v>
                </c:pt>
                <c:pt idx="3088">
                  <c:v>47.892146089353602</c:v>
                </c:pt>
                <c:pt idx="3089">
                  <c:v>47.892146089353602</c:v>
                </c:pt>
                <c:pt idx="3090">
                  <c:v>45.336072700126522</c:v>
                </c:pt>
                <c:pt idx="3091">
                  <c:v>45.763149075456724</c:v>
                </c:pt>
                <c:pt idx="3092">
                  <c:v>45.243846904789443</c:v>
                </c:pt>
                <c:pt idx="3093">
                  <c:v>47.341629034110689</c:v>
                </c:pt>
                <c:pt idx="3094">
                  <c:v>47.444496267371285</c:v>
                </c:pt>
                <c:pt idx="3095">
                  <c:v>47.444496267371285</c:v>
                </c:pt>
                <c:pt idx="3096">
                  <c:v>47.444496267371285</c:v>
                </c:pt>
                <c:pt idx="3097">
                  <c:v>45.114730791317527</c:v>
                </c:pt>
                <c:pt idx="3098">
                  <c:v>47.64455530033328</c:v>
                </c:pt>
                <c:pt idx="3099">
                  <c:v>48.416414264385189</c:v>
                </c:pt>
                <c:pt idx="3100">
                  <c:v>49.09533800390512</c:v>
                </c:pt>
                <c:pt idx="3101">
                  <c:v>47.308995291145266</c:v>
                </c:pt>
                <c:pt idx="3102">
                  <c:v>47.308995291145266</c:v>
                </c:pt>
                <c:pt idx="3103">
                  <c:v>47.308995291145266</c:v>
                </c:pt>
                <c:pt idx="3104">
                  <c:v>48.732819685310886</c:v>
                </c:pt>
                <c:pt idx="3105">
                  <c:v>50.16586665901022</c:v>
                </c:pt>
                <c:pt idx="3106">
                  <c:v>51.049106006661546</c:v>
                </c:pt>
                <c:pt idx="3107">
                  <c:v>50.58301102561181</c:v>
                </c:pt>
                <c:pt idx="3108">
                  <c:v>50.526256690019764</c:v>
                </c:pt>
                <c:pt idx="3109">
                  <c:v>50.526256690019764</c:v>
                </c:pt>
                <c:pt idx="3110">
                  <c:v>50.526256690019764</c:v>
                </c:pt>
                <c:pt idx="3111">
                  <c:v>51.682626277707833</c:v>
                </c:pt>
                <c:pt idx="3112">
                  <c:v>52.809199839210081</c:v>
                </c:pt>
                <c:pt idx="3113">
                  <c:v>52.099061215114524</c:v>
                </c:pt>
                <c:pt idx="3114">
                  <c:v>52.099061215114524</c:v>
                </c:pt>
                <c:pt idx="3115">
                  <c:v>52.099061215114524</c:v>
                </c:pt>
                <c:pt idx="3116">
                  <c:v>52.099061215114524</c:v>
                </c:pt>
                <c:pt idx="3117">
                  <c:v>52.099061215114524</c:v>
                </c:pt>
                <c:pt idx="3118">
                  <c:v>52.099061215114524</c:v>
                </c:pt>
                <c:pt idx="3119">
                  <c:v>53.590281382795702</c:v>
                </c:pt>
                <c:pt idx="3120">
                  <c:v>52.318274836338823</c:v>
                </c:pt>
                <c:pt idx="3121">
                  <c:v>51.623743654531076</c:v>
                </c:pt>
                <c:pt idx="3122">
                  <c:v>53.097228092339748</c:v>
                </c:pt>
                <c:pt idx="3123">
                  <c:v>53.097228092339748</c:v>
                </c:pt>
                <c:pt idx="3124">
                  <c:v>53.097228092339748</c:v>
                </c:pt>
                <c:pt idx="3125">
                  <c:v>52.561609050189745</c:v>
                </c:pt>
                <c:pt idx="3126">
                  <c:v>51.554219593430815</c:v>
                </c:pt>
                <c:pt idx="3127">
                  <c:v>52.364387734007373</c:v>
                </c:pt>
                <c:pt idx="3128">
                  <c:v>53.217121626277958</c:v>
                </c:pt>
                <c:pt idx="3129">
                  <c:v>52.365097163202272</c:v>
                </c:pt>
                <c:pt idx="3130">
                  <c:v>52.365097163202272</c:v>
                </c:pt>
                <c:pt idx="3131">
                  <c:v>52.365097163202272</c:v>
                </c:pt>
                <c:pt idx="3132">
                  <c:v>52.740385207304712</c:v>
                </c:pt>
                <c:pt idx="3133">
                  <c:v>53.741389801309545</c:v>
                </c:pt>
                <c:pt idx="3134">
                  <c:v>54.778575284254309</c:v>
                </c:pt>
                <c:pt idx="3135">
                  <c:v>54.988566325944902</c:v>
                </c:pt>
                <c:pt idx="3136">
                  <c:v>54.988566325944902</c:v>
                </c:pt>
                <c:pt idx="3137">
                  <c:v>54.988566325944902</c:v>
                </c:pt>
                <c:pt idx="3138">
                  <c:v>54.988566325944902</c:v>
                </c:pt>
                <c:pt idx="3139">
                  <c:v>53.297287125301729</c:v>
                </c:pt>
                <c:pt idx="3140">
                  <c:v>53.761253818766754</c:v>
                </c:pt>
                <c:pt idx="3141">
                  <c:v>53.035507752383388</c:v>
                </c:pt>
                <c:pt idx="3142">
                  <c:v>53.67470345698888</c:v>
                </c:pt>
                <c:pt idx="3143">
                  <c:v>54.599089697944436</c:v>
                </c:pt>
                <c:pt idx="3144">
                  <c:v>54.599089697944436</c:v>
                </c:pt>
                <c:pt idx="3145">
                  <c:v>54.599089697944436</c:v>
                </c:pt>
                <c:pt idx="3146">
                  <c:v>54.206065923969476</c:v>
                </c:pt>
                <c:pt idx="3147">
                  <c:v>54.627466865740466</c:v>
                </c:pt>
                <c:pt idx="3148">
                  <c:v>53.784664982198485</c:v>
                </c:pt>
                <c:pt idx="3149">
                  <c:v>52.302667394051014</c:v>
                </c:pt>
                <c:pt idx="3150">
                  <c:v>53.463293556908489</c:v>
                </c:pt>
                <c:pt idx="3151">
                  <c:v>53.463293556908489</c:v>
                </c:pt>
                <c:pt idx="3152">
                  <c:v>53.463293556908489</c:v>
                </c:pt>
                <c:pt idx="3153">
                  <c:v>54.738137820144971</c:v>
                </c:pt>
                <c:pt idx="3154">
                  <c:v>55.361726082462646</c:v>
                </c:pt>
                <c:pt idx="3155">
                  <c:v>55.997374641093643</c:v>
                </c:pt>
                <c:pt idx="3156">
                  <c:v>55.997374641093643</c:v>
                </c:pt>
                <c:pt idx="3157">
                  <c:v>55.097818421959602</c:v>
                </c:pt>
                <c:pt idx="3158">
                  <c:v>55.097818421959602</c:v>
                </c:pt>
                <c:pt idx="3159">
                  <c:v>55.097818421959602</c:v>
                </c:pt>
                <c:pt idx="3160">
                  <c:v>56.266248305960993</c:v>
                </c:pt>
                <c:pt idx="3161">
                  <c:v>57.099118180774369</c:v>
                </c:pt>
                <c:pt idx="3162">
                  <c:v>57.194181692891057</c:v>
                </c:pt>
                <c:pt idx="3163">
                  <c:v>57.193472263696158</c:v>
                </c:pt>
                <c:pt idx="3164">
                  <c:v>56.525189962099731</c:v>
                </c:pt>
                <c:pt idx="3165">
                  <c:v>56.525189962099731</c:v>
                </c:pt>
                <c:pt idx="3166">
                  <c:v>56.525189962099731</c:v>
                </c:pt>
                <c:pt idx="3167">
                  <c:v>56.525189962099731</c:v>
                </c:pt>
                <c:pt idx="3168">
                  <c:v>57.824154817962842</c:v>
                </c:pt>
                <c:pt idx="3169">
                  <c:v>58.913128632135347</c:v>
                </c:pt>
                <c:pt idx="3170">
                  <c:v>59.117444240266742</c:v>
                </c:pt>
                <c:pt idx="3171">
                  <c:v>60.277360973929319</c:v>
                </c:pt>
                <c:pt idx="3172">
                  <c:v>60.277360973929319</c:v>
                </c:pt>
                <c:pt idx="3173">
                  <c:v>60.277360973929319</c:v>
                </c:pt>
                <c:pt idx="3174">
                  <c:v>60.78602170667309</c:v>
                </c:pt>
                <c:pt idx="3175">
                  <c:v>59.527494314919316</c:v>
                </c:pt>
                <c:pt idx="3176">
                  <c:v>59.569350637418445</c:v>
                </c:pt>
                <c:pt idx="3177">
                  <c:v>57.727672447456342</c:v>
                </c:pt>
                <c:pt idx="3178">
                  <c:v>58.195895716090774</c:v>
                </c:pt>
                <c:pt idx="3179">
                  <c:v>58.195895716090774</c:v>
                </c:pt>
                <c:pt idx="3180">
                  <c:v>58.195895716090774</c:v>
                </c:pt>
                <c:pt idx="3181">
                  <c:v>56.960070058573827</c:v>
                </c:pt>
                <c:pt idx="3182">
                  <c:v>58.488889973584755</c:v>
                </c:pt>
                <c:pt idx="3183">
                  <c:v>58.133465946939523</c:v>
                </c:pt>
                <c:pt idx="3184">
                  <c:v>57.704970713219524</c:v>
                </c:pt>
                <c:pt idx="3185">
                  <c:v>57.828411393132242</c:v>
                </c:pt>
                <c:pt idx="3186">
                  <c:v>57.828411393132242</c:v>
                </c:pt>
                <c:pt idx="3187">
                  <c:v>57.828411393132242</c:v>
                </c:pt>
                <c:pt idx="3188">
                  <c:v>57.177864821408342</c:v>
                </c:pt>
                <c:pt idx="3189">
                  <c:v>57.706389571609328</c:v>
                </c:pt>
                <c:pt idx="3190">
                  <c:v>57.048748707936419</c:v>
                </c:pt>
                <c:pt idx="3191">
                  <c:v>56.840176524635631</c:v>
                </c:pt>
                <c:pt idx="3192">
                  <c:v>56.379756977145099</c:v>
                </c:pt>
                <c:pt idx="3193">
                  <c:v>56.379756977145099</c:v>
                </c:pt>
                <c:pt idx="3194">
                  <c:v>56.379756977145099</c:v>
                </c:pt>
                <c:pt idx="3195">
                  <c:v>56.758592167222048</c:v>
                </c:pt>
                <c:pt idx="3196">
                  <c:v>56.415228436890132</c:v>
                </c:pt>
                <c:pt idx="3197">
                  <c:v>56.950847479040135</c:v>
                </c:pt>
                <c:pt idx="3198">
                  <c:v>57.270800045940334</c:v>
                </c:pt>
                <c:pt idx="3199">
                  <c:v>56.87351969679596</c:v>
                </c:pt>
                <c:pt idx="3200">
                  <c:v>56.87351969679596</c:v>
                </c:pt>
                <c:pt idx="3201">
                  <c:v>56.87351969679596</c:v>
                </c:pt>
                <c:pt idx="3202">
                  <c:v>57.463764786953305</c:v>
                </c:pt>
                <c:pt idx="3203">
                  <c:v>57.387146433904029</c:v>
                </c:pt>
                <c:pt idx="3204">
                  <c:v>57.535417135638262</c:v>
                </c:pt>
                <c:pt idx="3205">
                  <c:v>56.822440794763104</c:v>
                </c:pt>
                <c:pt idx="3206">
                  <c:v>56.867134834041842</c:v>
                </c:pt>
                <c:pt idx="3207">
                  <c:v>56.867134834041842</c:v>
                </c:pt>
                <c:pt idx="3208">
                  <c:v>56.867134834041842</c:v>
                </c:pt>
                <c:pt idx="3209">
                  <c:v>58.244136901344021</c:v>
                </c:pt>
                <c:pt idx="3210">
                  <c:v>58.432135637992694</c:v>
                </c:pt>
                <c:pt idx="3211">
                  <c:v>59.650225565637129</c:v>
                </c:pt>
                <c:pt idx="3212">
                  <c:v>59.318212702423615</c:v>
                </c:pt>
                <c:pt idx="3213">
                  <c:v>59.849575169404204</c:v>
                </c:pt>
                <c:pt idx="3214">
                  <c:v>59.849575169404204</c:v>
                </c:pt>
                <c:pt idx="3215">
                  <c:v>59.849575169404204</c:v>
                </c:pt>
                <c:pt idx="3216">
                  <c:v>60.153210864821688</c:v>
                </c:pt>
                <c:pt idx="3217">
                  <c:v>60.742037096589243</c:v>
                </c:pt>
                <c:pt idx="3218">
                  <c:v>60.290840128632425</c:v>
                </c:pt>
                <c:pt idx="3219">
                  <c:v>59.843899735845007</c:v>
                </c:pt>
                <c:pt idx="3220">
                  <c:v>59.589924084070582</c:v>
                </c:pt>
                <c:pt idx="3221">
                  <c:v>59.589924084070582</c:v>
                </c:pt>
                <c:pt idx="3222">
                  <c:v>59.589924084070582</c:v>
                </c:pt>
                <c:pt idx="3223">
                  <c:v>59.589924084070582</c:v>
                </c:pt>
                <c:pt idx="3224">
                  <c:v>59.526784885724425</c:v>
                </c:pt>
                <c:pt idx="3225">
                  <c:v>59.714074193178199</c:v>
                </c:pt>
                <c:pt idx="3226">
                  <c:v>58.15545825198145</c:v>
                </c:pt>
                <c:pt idx="3227">
                  <c:v>58.615168370277075</c:v>
                </c:pt>
                <c:pt idx="3228">
                  <c:v>58.615168370277075</c:v>
                </c:pt>
                <c:pt idx="3229">
                  <c:v>58.615168370277075</c:v>
                </c:pt>
                <c:pt idx="3230">
                  <c:v>59.747417365338528</c:v>
                </c:pt>
                <c:pt idx="3231">
                  <c:v>60.141859997703286</c:v>
                </c:pt>
                <c:pt idx="3232">
                  <c:v>60.651939588836854</c:v>
                </c:pt>
                <c:pt idx="3233">
                  <c:v>60.647683013667447</c:v>
                </c:pt>
                <c:pt idx="3234">
                  <c:v>60.629947283794934</c:v>
                </c:pt>
                <c:pt idx="3235">
                  <c:v>60.629947283794934</c:v>
                </c:pt>
                <c:pt idx="3236">
                  <c:v>60.629947283794934</c:v>
                </c:pt>
                <c:pt idx="3237">
                  <c:v>60.740618238199438</c:v>
                </c:pt>
                <c:pt idx="3238">
                  <c:v>61.765743424830887</c:v>
                </c:pt>
                <c:pt idx="3239">
                  <c:v>62.141740898128241</c:v>
                </c:pt>
                <c:pt idx="3240">
                  <c:v>62.290721029057366</c:v>
                </c:pt>
                <c:pt idx="3241">
                  <c:v>61.855840932583263</c:v>
                </c:pt>
                <c:pt idx="3242">
                  <c:v>61.855840932583263</c:v>
                </c:pt>
                <c:pt idx="3243">
                  <c:v>61.855840932583263</c:v>
                </c:pt>
                <c:pt idx="3244">
                  <c:v>61.85725979097306</c:v>
                </c:pt>
                <c:pt idx="3245">
                  <c:v>61.485518892845121</c:v>
                </c:pt>
                <c:pt idx="3246">
                  <c:v>61.598318134834315</c:v>
                </c:pt>
                <c:pt idx="3247">
                  <c:v>61.152796600436702</c:v>
                </c:pt>
                <c:pt idx="3248">
                  <c:v>61.060570805099623</c:v>
                </c:pt>
                <c:pt idx="3249">
                  <c:v>61.060570805099623</c:v>
                </c:pt>
                <c:pt idx="3250">
                  <c:v>61.060570805099623</c:v>
                </c:pt>
                <c:pt idx="3251">
                  <c:v>62.144578614907836</c:v>
                </c:pt>
                <c:pt idx="3252">
                  <c:v>61.918270701734528</c:v>
                </c:pt>
                <c:pt idx="3253">
                  <c:v>61.72885310669605</c:v>
                </c:pt>
                <c:pt idx="3254">
                  <c:v>61.517443206615653</c:v>
                </c:pt>
                <c:pt idx="3255">
                  <c:v>61.218773515562475</c:v>
                </c:pt>
                <c:pt idx="3256">
                  <c:v>61.218773515562475</c:v>
                </c:pt>
                <c:pt idx="3257">
                  <c:v>61.218773515562475</c:v>
                </c:pt>
                <c:pt idx="3258">
                  <c:v>60.958413001033939</c:v>
                </c:pt>
                <c:pt idx="3259">
                  <c:v>60.981824164465657</c:v>
                </c:pt>
                <c:pt idx="3260">
                  <c:v>60.647683013667447</c:v>
                </c:pt>
                <c:pt idx="3261">
                  <c:v>60.451171126679967</c:v>
                </c:pt>
                <c:pt idx="3262">
                  <c:v>59.994298725163944</c:v>
                </c:pt>
                <c:pt idx="3263">
                  <c:v>59.994298725163944</c:v>
                </c:pt>
                <c:pt idx="3264">
                  <c:v>59.994298725163944</c:v>
                </c:pt>
                <c:pt idx="3265">
                  <c:v>60.64555472608275</c:v>
                </c:pt>
                <c:pt idx="3266">
                  <c:v>59.775085103939645</c:v>
                </c:pt>
                <c:pt idx="3267">
                  <c:v>60.835681750316127</c:v>
                </c:pt>
                <c:pt idx="3268">
                  <c:v>60.598732399219308</c:v>
                </c:pt>
                <c:pt idx="3269">
                  <c:v>60.830006316756922</c:v>
                </c:pt>
                <c:pt idx="3270">
                  <c:v>60.830006316756922</c:v>
                </c:pt>
                <c:pt idx="3271">
                  <c:v>60.830006316756922</c:v>
                </c:pt>
                <c:pt idx="3272">
                  <c:v>60.629237854600035</c:v>
                </c:pt>
                <c:pt idx="3273">
                  <c:v>61.208132077638972</c:v>
                </c:pt>
                <c:pt idx="3274">
                  <c:v>61.410319398185663</c:v>
                </c:pt>
                <c:pt idx="3275">
                  <c:v>61.428764557253075</c:v>
                </c:pt>
                <c:pt idx="3276">
                  <c:v>61.447919145515399</c:v>
                </c:pt>
                <c:pt idx="3277">
                  <c:v>61.447919145515399</c:v>
                </c:pt>
                <c:pt idx="3278">
                  <c:v>61.447919145515399</c:v>
                </c:pt>
                <c:pt idx="3279">
                  <c:v>59.215345469163033</c:v>
                </c:pt>
                <c:pt idx="3280">
                  <c:v>59.953151831859721</c:v>
                </c:pt>
                <c:pt idx="3281">
                  <c:v>60.074464224187729</c:v>
                </c:pt>
                <c:pt idx="3282">
                  <c:v>59.512596301826406</c:v>
                </c:pt>
                <c:pt idx="3283">
                  <c:v>59.460098541403752</c:v>
                </c:pt>
                <c:pt idx="3284">
                  <c:v>59.460098541403752</c:v>
                </c:pt>
                <c:pt idx="3285">
                  <c:v>59.460098541403752</c:v>
                </c:pt>
                <c:pt idx="3286">
                  <c:v>60.411443091765534</c:v>
                </c:pt>
                <c:pt idx="3287">
                  <c:v>60.325602159182559</c:v>
                </c:pt>
                <c:pt idx="3288">
                  <c:v>60.733523946250443</c:v>
                </c:pt>
                <c:pt idx="3289">
                  <c:v>60.49515573676382</c:v>
                </c:pt>
                <c:pt idx="3290">
                  <c:v>60.512182037441434</c:v>
                </c:pt>
                <c:pt idx="3291">
                  <c:v>60.512182037441434</c:v>
                </c:pt>
                <c:pt idx="3292">
                  <c:v>60.512182037441434</c:v>
                </c:pt>
                <c:pt idx="3293">
                  <c:v>61.574197542207727</c:v>
                </c:pt>
                <c:pt idx="3294">
                  <c:v>62.26021557367666</c:v>
                </c:pt>
                <c:pt idx="3295">
                  <c:v>61.869320087286397</c:v>
                </c:pt>
                <c:pt idx="3296">
                  <c:v>62.373014815665869</c:v>
                </c:pt>
                <c:pt idx="3297">
                  <c:v>62.165861490754871</c:v>
                </c:pt>
                <c:pt idx="3298">
                  <c:v>62.165861490754871</c:v>
                </c:pt>
                <c:pt idx="3299">
                  <c:v>62.165861490754871</c:v>
                </c:pt>
                <c:pt idx="3300">
                  <c:v>62.297105891811491</c:v>
                </c:pt>
                <c:pt idx="3301">
                  <c:v>62.101303434018909</c:v>
                </c:pt>
                <c:pt idx="3302">
                  <c:v>62.261634432066458</c:v>
                </c:pt>
                <c:pt idx="3303">
                  <c:v>61.220901803147193</c:v>
                </c:pt>
                <c:pt idx="3304">
                  <c:v>61.899116113472218</c:v>
                </c:pt>
                <c:pt idx="3305">
                  <c:v>61.899116113472218</c:v>
                </c:pt>
                <c:pt idx="3306">
                  <c:v>61.899116113472218</c:v>
                </c:pt>
                <c:pt idx="3307">
                  <c:v>61.968640174572485</c:v>
                </c:pt>
                <c:pt idx="3308">
                  <c:v>61.608250143562948</c:v>
                </c:pt>
                <c:pt idx="3309">
                  <c:v>60.837100608705931</c:v>
                </c:pt>
                <c:pt idx="3310">
                  <c:v>60.195067187320838</c:v>
                </c:pt>
                <c:pt idx="3311">
                  <c:v>60.932873550017518</c:v>
                </c:pt>
                <c:pt idx="3312">
                  <c:v>60.932873550017518</c:v>
                </c:pt>
                <c:pt idx="3313">
                  <c:v>60.932873550017518</c:v>
                </c:pt>
                <c:pt idx="3314">
                  <c:v>59.053595612725672</c:v>
                </c:pt>
                <c:pt idx="3315">
                  <c:v>58.598851498794353</c:v>
                </c:pt>
                <c:pt idx="3316">
                  <c:v>56.731633857815815</c:v>
                </c:pt>
                <c:pt idx="3317">
                  <c:v>57.466602503732894</c:v>
                </c:pt>
                <c:pt idx="3318">
                  <c:v>57.595009188009918</c:v>
                </c:pt>
                <c:pt idx="3319">
                  <c:v>57.595009188009918</c:v>
                </c:pt>
                <c:pt idx="3320">
                  <c:v>57.595009188009918</c:v>
                </c:pt>
                <c:pt idx="3321">
                  <c:v>58.425041346043685</c:v>
                </c:pt>
                <c:pt idx="3322">
                  <c:v>58.837219708280962</c:v>
                </c:pt>
                <c:pt idx="3323">
                  <c:v>59.703432755254674</c:v>
                </c:pt>
                <c:pt idx="3324">
                  <c:v>59.948895256690292</c:v>
                </c:pt>
                <c:pt idx="3325">
                  <c:v>59.997845871138445</c:v>
                </c:pt>
                <c:pt idx="3326">
                  <c:v>59.997845871138445</c:v>
                </c:pt>
                <c:pt idx="3327">
                  <c:v>59.997845871138445</c:v>
                </c:pt>
                <c:pt idx="3328">
                  <c:v>62.652529918456707</c:v>
                </c:pt>
                <c:pt idx="3329">
                  <c:v>62.35386022740353</c:v>
                </c:pt>
                <c:pt idx="3330">
                  <c:v>63.098760882049213</c:v>
                </c:pt>
                <c:pt idx="3331">
                  <c:v>63.135651200184057</c:v>
                </c:pt>
                <c:pt idx="3332">
                  <c:v>63.281793614333587</c:v>
                </c:pt>
                <c:pt idx="3333">
                  <c:v>63.281793614333587</c:v>
                </c:pt>
                <c:pt idx="3334">
                  <c:v>63.281793614333587</c:v>
                </c:pt>
                <c:pt idx="3335">
                  <c:v>64.484276099690192</c:v>
                </c:pt>
                <c:pt idx="3336">
                  <c:v>64.433906626852249</c:v>
                </c:pt>
                <c:pt idx="3337">
                  <c:v>64.710584012863507</c:v>
                </c:pt>
                <c:pt idx="3338">
                  <c:v>64.057199724360004</c:v>
                </c:pt>
                <c:pt idx="3339">
                  <c:v>64.447385781555369</c:v>
                </c:pt>
                <c:pt idx="3340">
                  <c:v>64.447385781555369</c:v>
                </c:pt>
                <c:pt idx="3341">
                  <c:v>64.447385781555369</c:v>
                </c:pt>
                <c:pt idx="3342">
                  <c:v>65.073811760652646</c:v>
                </c:pt>
                <c:pt idx="3343">
                  <c:v>66.338014585965624</c:v>
                </c:pt>
                <c:pt idx="3344">
                  <c:v>66.245079361433639</c:v>
                </c:pt>
                <c:pt idx="3345">
                  <c:v>66.389093487998466</c:v>
                </c:pt>
                <c:pt idx="3346">
                  <c:v>67.133284713449257</c:v>
                </c:pt>
                <c:pt idx="3347">
                  <c:v>67.133284713449257</c:v>
                </c:pt>
                <c:pt idx="3348">
                  <c:v>67.133284713449257</c:v>
                </c:pt>
                <c:pt idx="3349">
                  <c:v>66.004582864362305</c:v>
                </c:pt>
                <c:pt idx="3350">
                  <c:v>66.325244860457389</c:v>
                </c:pt>
                <c:pt idx="3351">
                  <c:v>65.842123578730039</c:v>
                </c:pt>
                <c:pt idx="3352">
                  <c:v>65.770471230045075</c:v>
                </c:pt>
                <c:pt idx="3353">
                  <c:v>66.360716320202414</c:v>
                </c:pt>
                <c:pt idx="3354">
                  <c:v>66.360716320202414</c:v>
                </c:pt>
                <c:pt idx="3355">
                  <c:v>66.360716320202414</c:v>
                </c:pt>
                <c:pt idx="3356">
                  <c:v>66.189034455036463</c:v>
                </c:pt>
                <c:pt idx="3357">
                  <c:v>66.2259247731713</c:v>
                </c:pt>
                <c:pt idx="3358">
                  <c:v>66.894207074767721</c:v>
                </c:pt>
                <c:pt idx="3359">
                  <c:v>66.869377052946206</c:v>
                </c:pt>
                <c:pt idx="3360">
                  <c:v>66.514662455495881</c:v>
                </c:pt>
                <c:pt idx="3361">
                  <c:v>66.514662455495881</c:v>
                </c:pt>
                <c:pt idx="3362">
                  <c:v>66.514662455495881</c:v>
                </c:pt>
                <c:pt idx="3363">
                  <c:v>66.447976111175223</c:v>
                </c:pt>
                <c:pt idx="3364">
                  <c:v>66.44939496956502</c:v>
                </c:pt>
                <c:pt idx="3365">
                  <c:v>66.67854059951793</c:v>
                </c:pt>
                <c:pt idx="3366">
                  <c:v>66.84241874353998</c:v>
                </c:pt>
                <c:pt idx="3367">
                  <c:v>67.431244975307521</c:v>
                </c:pt>
                <c:pt idx="3368">
                  <c:v>67.431244975307521</c:v>
                </c:pt>
                <c:pt idx="3369">
                  <c:v>67.431244975307521</c:v>
                </c:pt>
                <c:pt idx="3370">
                  <c:v>65.851346158263766</c:v>
                </c:pt>
                <c:pt idx="3371">
                  <c:v>66.603341104858458</c:v>
                </c:pt>
                <c:pt idx="3372">
                  <c:v>67.654715171701227</c:v>
                </c:pt>
                <c:pt idx="3373">
                  <c:v>67.654715171701227</c:v>
                </c:pt>
                <c:pt idx="3374">
                  <c:v>67.654715171701227</c:v>
                </c:pt>
                <c:pt idx="3375">
                  <c:v>67.654715171701227</c:v>
                </c:pt>
                <c:pt idx="3376">
                  <c:v>67.654715171701227</c:v>
                </c:pt>
                <c:pt idx="3377">
                  <c:v>68.57839198346187</c:v>
                </c:pt>
                <c:pt idx="3378">
                  <c:v>68.835914781210818</c:v>
                </c:pt>
                <c:pt idx="3379">
                  <c:v>69.096275295739375</c:v>
                </c:pt>
                <c:pt idx="3380">
                  <c:v>69.096275295739375</c:v>
                </c:pt>
                <c:pt idx="3381">
                  <c:v>69.096275295739375</c:v>
                </c:pt>
                <c:pt idx="3382">
                  <c:v>69.096275295739375</c:v>
                </c:pt>
                <c:pt idx="3383">
                  <c:v>69.096275295739375</c:v>
                </c:pt>
                <c:pt idx="3384">
                  <c:v>68.527313081429057</c:v>
                </c:pt>
                <c:pt idx="3385">
                  <c:v>68.398196967957134</c:v>
                </c:pt>
                <c:pt idx="3386">
                  <c:v>69.230357413575604</c:v>
                </c:pt>
                <c:pt idx="3387">
                  <c:v>70.320040656943021</c:v>
                </c:pt>
                <c:pt idx="3388">
                  <c:v>71.025213276674279</c:v>
                </c:pt>
                <c:pt idx="3389">
                  <c:v>71.025213276674279</c:v>
                </c:pt>
                <c:pt idx="3390">
                  <c:v>71.025213276674279</c:v>
                </c:pt>
                <c:pt idx="3391">
                  <c:v>70.298048351901102</c:v>
                </c:pt>
                <c:pt idx="3392">
                  <c:v>70.840761686000107</c:v>
                </c:pt>
                <c:pt idx="3393">
                  <c:v>70.261867462961177</c:v>
                </c:pt>
                <c:pt idx="3394">
                  <c:v>70.855659699093025</c:v>
                </c:pt>
                <c:pt idx="3395">
                  <c:v>70.085929022625805</c:v>
                </c:pt>
                <c:pt idx="3396">
                  <c:v>70.085929022625805</c:v>
                </c:pt>
                <c:pt idx="3397">
                  <c:v>70.085929022625805</c:v>
                </c:pt>
                <c:pt idx="3398">
                  <c:v>70.503073389227396</c:v>
                </c:pt>
                <c:pt idx="3399">
                  <c:v>71.27564178247421</c:v>
                </c:pt>
                <c:pt idx="3400">
                  <c:v>71.13375594349408</c:v>
                </c:pt>
                <c:pt idx="3401">
                  <c:v>71.052171586080505</c:v>
                </c:pt>
                <c:pt idx="3402">
                  <c:v>70.532159986218332</c:v>
                </c:pt>
                <c:pt idx="3403">
                  <c:v>70.532159986218332</c:v>
                </c:pt>
                <c:pt idx="3404">
                  <c:v>70.532159986218332</c:v>
                </c:pt>
                <c:pt idx="3405">
                  <c:v>69.807123349029851</c:v>
                </c:pt>
                <c:pt idx="3406">
                  <c:v>69.311941770989193</c:v>
                </c:pt>
                <c:pt idx="3407">
                  <c:v>68.286816584357737</c:v>
                </c:pt>
                <c:pt idx="3408">
                  <c:v>68.511705639141255</c:v>
                </c:pt>
                <c:pt idx="3409">
                  <c:v>68.594708854944628</c:v>
                </c:pt>
                <c:pt idx="3410">
                  <c:v>68.594708854944628</c:v>
                </c:pt>
                <c:pt idx="3411">
                  <c:v>68.594708854944628</c:v>
                </c:pt>
                <c:pt idx="3412">
                  <c:v>68.944457448030661</c:v>
                </c:pt>
                <c:pt idx="3413">
                  <c:v>69.847560813139197</c:v>
                </c:pt>
                <c:pt idx="3414">
                  <c:v>70.434258757322041</c:v>
                </c:pt>
                <c:pt idx="3415">
                  <c:v>70.779750775238668</c:v>
                </c:pt>
                <c:pt idx="3416">
                  <c:v>70.697456988630179</c:v>
                </c:pt>
                <c:pt idx="3417">
                  <c:v>70.697456988630179</c:v>
                </c:pt>
                <c:pt idx="3418">
                  <c:v>70.697456988630179</c:v>
                </c:pt>
                <c:pt idx="3419">
                  <c:v>70.977681520615945</c:v>
                </c:pt>
                <c:pt idx="3420">
                  <c:v>70.41297588147502</c:v>
                </c:pt>
                <c:pt idx="3421">
                  <c:v>70.32358780291753</c:v>
                </c:pt>
                <c:pt idx="3422">
                  <c:v>70.634317790284015</c:v>
                </c:pt>
                <c:pt idx="3423">
                  <c:v>70.359768691857468</c:v>
                </c:pt>
                <c:pt idx="3424">
                  <c:v>70.359768691857468</c:v>
                </c:pt>
                <c:pt idx="3425">
                  <c:v>70.359768691857468</c:v>
                </c:pt>
                <c:pt idx="3426">
                  <c:v>70.630061215114623</c:v>
                </c:pt>
                <c:pt idx="3427">
                  <c:v>70.91808946824429</c:v>
                </c:pt>
                <c:pt idx="3428">
                  <c:v>70.643540369817742</c:v>
                </c:pt>
                <c:pt idx="3429">
                  <c:v>69.607064316067877</c:v>
                </c:pt>
                <c:pt idx="3430">
                  <c:v>70.490303663719203</c:v>
                </c:pt>
                <c:pt idx="3431">
                  <c:v>70.490303663719203</c:v>
                </c:pt>
                <c:pt idx="3432">
                  <c:v>70.490303663719203</c:v>
                </c:pt>
                <c:pt idx="3433">
                  <c:v>71.177031124383035</c:v>
                </c:pt>
                <c:pt idx="3434">
                  <c:v>71.472863098656603</c:v>
                </c:pt>
                <c:pt idx="3435">
                  <c:v>71.909871482715403</c:v>
                </c:pt>
                <c:pt idx="3436">
                  <c:v>72.869729183416013</c:v>
                </c:pt>
                <c:pt idx="3437">
                  <c:v>71.444485930860594</c:v>
                </c:pt>
                <c:pt idx="3438">
                  <c:v>71.444485930860594</c:v>
                </c:pt>
                <c:pt idx="3439">
                  <c:v>71.444485930860594</c:v>
                </c:pt>
                <c:pt idx="3440">
                  <c:v>72.953441828414284</c:v>
                </c:pt>
                <c:pt idx="3441">
                  <c:v>73.252820948662361</c:v>
                </c:pt>
                <c:pt idx="3442">
                  <c:v>73.127251981164946</c:v>
                </c:pt>
                <c:pt idx="3443">
                  <c:v>72.992460434133832</c:v>
                </c:pt>
                <c:pt idx="3444">
                  <c:v>73.928197542207783</c:v>
                </c:pt>
                <c:pt idx="3445">
                  <c:v>73.928197542207783</c:v>
                </c:pt>
                <c:pt idx="3446">
                  <c:v>73.928197542207783</c:v>
                </c:pt>
                <c:pt idx="3447">
                  <c:v>74.50567290685693</c:v>
                </c:pt>
                <c:pt idx="3448">
                  <c:v>75.034197657057916</c:v>
                </c:pt>
                <c:pt idx="3449">
                  <c:v>75.475462616286123</c:v>
                </c:pt>
                <c:pt idx="3450">
                  <c:v>75.503839784082132</c:v>
                </c:pt>
                <c:pt idx="3451">
                  <c:v>75.367629378661192</c:v>
                </c:pt>
                <c:pt idx="3452">
                  <c:v>75.367629378661192</c:v>
                </c:pt>
                <c:pt idx="3453">
                  <c:v>75.367629378661192</c:v>
                </c:pt>
                <c:pt idx="3454">
                  <c:v>75.547824394165971</c:v>
                </c:pt>
                <c:pt idx="3455">
                  <c:v>75.295977029976228</c:v>
                </c:pt>
                <c:pt idx="3456">
                  <c:v>75.053352245320212</c:v>
                </c:pt>
                <c:pt idx="3457">
                  <c:v>75.043420236591601</c:v>
                </c:pt>
                <c:pt idx="3458">
                  <c:v>74.52837464109372</c:v>
                </c:pt>
                <c:pt idx="3459">
                  <c:v>74.52837464109372</c:v>
                </c:pt>
                <c:pt idx="3460">
                  <c:v>74.52837464109372</c:v>
                </c:pt>
                <c:pt idx="3461">
                  <c:v>74.764614562995632</c:v>
                </c:pt>
                <c:pt idx="3462">
                  <c:v>73.887760078098424</c:v>
                </c:pt>
                <c:pt idx="3463">
                  <c:v>74.009781899621345</c:v>
                </c:pt>
                <c:pt idx="3464">
                  <c:v>73.236504077179632</c:v>
                </c:pt>
                <c:pt idx="3465">
                  <c:v>74.539725508212157</c:v>
                </c:pt>
                <c:pt idx="3466">
                  <c:v>74.539725508212157</c:v>
                </c:pt>
                <c:pt idx="3467">
                  <c:v>74.539725508212157</c:v>
                </c:pt>
                <c:pt idx="3468">
                  <c:v>74.978862179855668</c:v>
                </c:pt>
                <c:pt idx="3469">
                  <c:v>74.922817273458506</c:v>
                </c:pt>
                <c:pt idx="3470">
                  <c:v>75.118619731251087</c:v>
                </c:pt>
                <c:pt idx="3471">
                  <c:v>75.118619731251087</c:v>
                </c:pt>
                <c:pt idx="3472">
                  <c:v>75.118619731251087</c:v>
                </c:pt>
                <c:pt idx="3473">
                  <c:v>75.118619731251087</c:v>
                </c:pt>
                <c:pt idx="3474">
                  <c:v>75.118619731251087</c:v>
                </c:pt>
                <c:pt idx="3475">
                  <c:v>75.118619731251087</c:v>
                </c:pt>
                <c:pt idx="3476">
                  <c:v>76.031655105088248</c:v>
                </c:pt>
                <c:pt idx="3477">
                  <c:v>75.633665326748968</c:v>
                </c:pt>
                <c:pt idx="3478">
                  <c:v>75.444247731710504</c:v>
                </c:pt>
                <c:pt idx="3479">
                  <c:v>75.405229125990971</c:v>
                </c:pt>
                <c:pt idx="3480">
                  <c:v>75.405229125990971</c:v>
                </c:pt>
                <c:pt idx="3481">
                  <c:v>75.405229125990971</c:v>
                </c:pt>
                <c:pt idx="3482">
                  <c:v>74.968220741932157</c:v>
                </c:pt>
                <c:pt idx="3483">
                  <c:v>75.510224646836264</c:v>
                </c:pt>
                <c:pt idx="3484">
                  <c:v>75.603159871368234</c:v>
                </c:pt>
                <c:pt idx="3485">
                  <c:v>76.053647410130139</c:v>
                </c:pt>
                <c:pt idx="3486">
                  <c:v>77.002154243712326</c:v>
                </c:pt>
                <c:pt idx="3487">
                  <c:v>77.002154243712326</c:v>
                </c:pt>
                <c:pt idx="3488">
                  <c:v>77.002154243712326</c:v>
                </c:pt>
                <c:pt idx="3489">
                  <c:v>76.455893763638812</c:v>
                </c:pt>
                <c:pt idx="3490">
                  <c:v>75.339252210865183</c:v>
                </c:pt>
                <c:pt idx="3491">
                  <c:v>74.911466406340082</c:v>
                </c:pt>
                <c:pt idx="3492">
                  <c:v>75.847203514414048</c:v>
                </c:pt>
                <c:pt idx="3493">
                  <c:v>76.143744917882515</c:v>
                </c:pt>
                <c:pt idx="3494">
                  <c:v>76.143744917882515</c:v>
                </c:pt>
                <c:pt idx="3495">
                  <c:v>76.143744917882515</c:v>
                </c:pt>
                <c:pt idx="3496">
                  <c:v>76.973067646721375</c:v>
                </c:pt>
                <c:pt idx="3497">
                  <c:v>76.912056735959922</c:v>
                </c:pt>
                <c:pt idx="3498">
                  <c:v>77.493079246583548</c:v>
                </c:pt>
                <c:pt idx="3499">
                  <c:v>77.376023429424947</c:v>
                </c:pt>
                <c:pt idx="3500">
                  <c:v>76.366505685081307</c:v>
                </c:pt>
                <c:pt idx="3501">
                  <c:v>76.366505685081307</c:v>
                </c:pt>
                <c:pt idx="3502">
                  <c:v>76.366505685081307</c:v>
                </c:pt>
                <c:pt idx="3503">
                  <c:v>76.982999655449987</c:v>
                </c:pt>
                <c:pt idx="3504">
                  <c:v>76.40623371999574</c:v>
                </c:pt>
                <c:pt idx="3505">
                  <c:v>76.768752038589966</c:v>
                </c:pt>
                <c:pt idx="3506">
                  <c:v>76.182054094407121</c:v>
                </c:pt>
                <c:pt idx="3507">
                  <c:v>77.497335821752941</c:v>
                </c:pt>
                <c:pt idx="3508">
                  <c:v>77.497335821752941</c:v>
                </c:pt>
                <c:pt idx="3509">
                  <c:v>77.497335821752941</c:v>
                </c:pt>
                <c:pt idx="3510">
                  <c:v>77.237684736419297</c:v>
                </c:pt>
                <c:pt idx="3511">
                  <c:v>75.968515906742013</c:v>
                </c:pt>
                <c:pt idx="3512">
                  <c:v>75.608125875732483</c:v>
                </c:pt>
                <c:pt idx="3513">
                  <c:v>75.608125875732483</c:v>
                </c:pt>
                <c:pt idx="3514">
                  <c:v>75.89615412886215</c:v>
                </c:pt>
                <c:pt idx="3515">
                  <c:v>75.89615412886215</c:v>
                </c:pt>
                <c:pt idx="3516">
                  <c:v>75.89615412886215</c:v>
                </c:pt>
                <c:pt idx="3517">
                  <c:v>75.89615412886215</c:v>
                </c:pt>
                <c:pt idx="3518">
                  <c:v>76.536768691857446</c:v>
                </c:pt>
                <c:pt idx="3519">
                  <c:v>75.230000114850441</c:v>
                </c:pt>
                <c:pt idx="3520">
                  <c:v>76.421131733088657</c:v>
                </c:pt>
                <c:pt idx="3521">
                  <c:v>77.821544963822561</c:v>
                </c:pt>
                <c:pt idx="3522">
                  <c:v>77.821544963822561</c:v>
                </c:pt>
                <c:pt idx="3523">
                  <c:v>77.821544963822561</c:v>
                </c:pt>
                <c:pt idx="3524">
                  <c:v>77.821544963822561</c:v>
                </c:pt>
                <c:pt idx="3525">
                  <c:v>77.396596876077069</c:v>
                </c:pt>
                <c:pt idx="3526">
                  <c:v>77.304371080739998</c:v>
                </c:pt>
                <c:pt idx="3527">
                  <c:v>77.957045940048587</c:v>
                </c:pt>
                <c:pt idx="3528">
                  <c:v>78.949537383714599</c:v>
                </c:pt>
                <c:pt idx="3529">
                  <c:v>78.949537383714599</c:v>
                </c:pt>
                <c:pt idx="3530">
                  <c:v>78.949537383714599</c:v>
                </c:pt>
                <c:pt idx="3531">
                  <c:v>78.505434707706783</c:v>
                </c:pt>
                <c:pt idx="3532">
                  <c:v>79.66109486619996</c:v>
                </c:pt>
                <c:pt idx="3533">
                  <c:v>79.742679223613521</c:v>
                </c:pt>
                <c:pt idx="3534">
                  <c:v>79.778150683358561</c:v>
                </c:pt>
                <c:pt idx="3535">
                  <c:v>80.412380383599753</c:v>
                </c:pt>
                <c:pt idx="3536">
                  <c:v>80.412380383599753</c:v>
                </c:pt>
                <c:pt idx="3537">
                  <c:v>80.412380383599753</c:v>
                </c:pt>
                <c:pt idx="3538">
                  <c:v>80.254177673136908</c:v>
                </c:pt>
                <c:pt idx="3539">
                  <c:v>80.095265533479164</c:v>
                </c:pt>
                <c:pt idx="3540">
                  <c:v>80.061212932123922</c:v>
                </c:pt>
                <c:pt idx="3541">
                  <c:v>79.944866544160234</c:v>
                </c:pt>
                <c:pt idx="3542">
                  <c:v>80.069016653267838</c:v>
                </c:pt>
                <c:pt idx="3543">
                  <c:v>80.069016653267838</c:v>
                </c:pt>
                <c:pt idx="3544">
                  <c:v>80.069016653267838</c:v>
                </c:pt>
                <c:pt idx="3545">
                  <c:v>80.726657516940747</c:v>
                </c:pt>
                <c:pt idx="3546">
                  <c:v>80.025741472378897</c:v>
                </c:pt>
                <c:pt idx="3547">
                  <c:v>80.066178936488228</c:v>
                </c:pt>
                <c:pt idx="3548">
                  <c:v>79.502182726542216</c:v>
                </c:pt>
                <c:pt idx="3549">
                  <c:v>78.515366716435395</c:v>
                </c:pt>
                <c:pt idx="3550">
                  <c:v>78.515366716435395</c:v>
                </c:pt>
                <c:pt idx="3551">
                  <c:v>78.515366716435395</c:v>
                </c:pt>
                <c:pt idx="3552">
                  <c:v>79.215573331802332</c:v>
                </c:pt>
                <c:pt idx="3553">
                  <c:v>79.763252670265643</c:v>
                </c:pt>
                <c:pt idx="3554">
                  <c:v>80.388259790973137</c:v>
                </c:pt>
                <c:pt idx="3555">
                  <c:v>80.34072803491479</c:v>
                </c:pt>
                <c:pt idx="3556">
                  <c:v>80.877056506259677</c:v>
                </c:pt>
                <c:pt idx="3557">
                  <c:v>80.877056506259677</c:v>
                </c:pt>
                <c:pt idx="3558">
                  <c:v>80.877056506259677</c:v>
                </c:pt>
                <c:pt idx="3559">
                  <c:v>80.117967267715969</c:v>
                </c:pt>
                <c:pt idx="3560">
                  <c:v>80.17188388652842</c:v>
                </c:pt>
                <c:pt idx="3561">
                  <c:v>79.524175031584136</c:v>
                </c:pt>
                <c:pt idx="3562">
                  <c:v>80.27262283220432</c:v>
                </c:pt>
                <c:pt idx="3563">
                  <c:v>80.666356035374179</c:v>
                </c:pt>
                <c:pt idx="3564">
                  <c:v>80.666356035374179</c:v>
                </c:pt>
                <c:pt idx="3565">
                  <c:v>80.666356035374179</c:v>
                </c:pt>
                <c:pt idx="3566">
                  <c:v>81.094141839899279</c:v>
                </c:pt>
                <c:pt idx="3567">
                  <c:v>81.043772367061351</c:v>
                </c:pt>
                <c:pt idx="3568">
                  <c:v>80.921041116343531</c:v>
                </c:pt>
                <c:pt idx="3569">
                  <c:v>79.524175031584136</c:v>
                </c:pt>
                <c:pt idx="3570">
                  <c:v>80.446432984954996</c:v>
                </c:pt>
                <c:pt idx="3571">
                  <c:v>80.446432984954996</c:v>
                </c:pt>
                <c:pt idx="3572">
                  <c:v>80.446432984954996</c:v>
                </c:pt>
                <c:pt idx="3573">
                  <c:v>81.234608820489612</c:v>
                </c:pt>
                <c:pt idx="3574">
                  <c:v>81.280012288963249</c:v>
                </c:pt>
                <c:pt idx="3575">
                  <c:v>81.804989893189727</c:v>
                </c:pt>
                <c:pt idx="3576">
                  <c:v>81.189914781210874</c:v>
                </c:pt>
                <c:pt idx="3577">
                  <c:v>80.238570230849092</c:v>
                </c:pt>
                <c:pt idx="3578">
                  <c:v>80.238570230849092</c:v>
                </c:pt>
                <c:pt idx="3579">
                  <c:v>80.238570230849092</c:v>
                </c:pt>
                <c:pt idx="3580">
                  <c:v>78.322401975422423</c:v>
                </c:pt>
                <c:pt idx="3581">
                  <c:v>79.420598369128641</c:v>
                </c:pt>
                <c:pt idx="3582">
                  <c:v>80.298871712415661</c:v>
                </c:pt>
                <c:pt idx="3583">
                  <c:v>80.339309176524992</c:v>
                </c:pt>
                <c:pt idx="3584">
                  <c:v>80.298871712415661</c:v>
                </c:pt>
                <c:pt idx="3585">
                  <c:v>80.298871712415661</c:v>
                </c:pt>
                <c:pt idx="3586">
                  <c:v>80.298871712415661</c:v>
                </c:pt>
                <c:pt idx="3587">
                  <c:v>80.70324635350903</c:v>
                </c:pt>
                <c:pt idx="3588">
                  <c:v>80.404576662455852</c:v>
                </c:pt>
                <c:pt idx="3589">
                  <c:v>80.296033995636051</c:v>
                </c:pt>
                <c:pt idx="3590">
                  <c:v>80.760000689101091</c:v>
                </c:pt>
                <c:pt idx="3591">
                  <c:v>80.469134719191814</c:v>
                </c:pt>
                <c:pt idx="3592">
                  <c:v>80.469134719191814</c:v>
                </c:pt>
                <c:pt idx="3593">
                  <c:v>80.469134719191814</c:v>
                </c:pt>
                <c:pt idx="3594">
                  <c:v>81.072149534857374</c:v>
                </c:pt>
                <c:pt idx="3595">
                  <c:v>81.008300907316325</c:v>
                </c:pt>
                <c:pt idx="3596">
                  <c:v>81.516961640060089</c:v>
                </c:pt>
                <c:pt idx="3597">
                  <c:v>81.465882738027233</c:v>
                </c:pt>
                <c:pt idx="3598">
                  <c:v>81.268661421844854</c:v>
                </c:pt>
                <c:pt idx="3599">
                  <c:v>81.268661421844854</c:v>
                </c:pt>
                <c:pt idx="3600">
                  <c:v>81.268661421844854</c:v>
                </c:pt>
                <c:pt idx="3601">
                  <c:v>81.403452968875982</c:v>
                </c:pt>
                <c:pt idx="3602">
                  <c:v>81.890121396577825</c:v>
                </c:pt>
                <c:pt idx="3603">
                  <c:v>81.905728838865642</c:v>
                </c:pt>
                <c:pt idx="3604">
                  <c:v>82.181696795682015</c:v>
                </c:pt>
                <c:pt idx="3605">
                  <c:v>82.222843688986245</c:v>
                </c:pt>
                <c:pt idx="3606">
                  <c:v>82.222843688986245</c:v>
                </c:pt>
                <c:pt idx="3607">
                  <c:v>82.222843688986245</c:v>
                </c:pt>
                <c:pt idx="3608">
                  <c:v>81.577972550821556</c:v>
                </c:pt>
                <c:pt idx="3609">
                  <c:v>81.707088664293465</c:v>
                </c:pt>
                <c:pt idx="3610">
                  <c:v>81.82201619386737</c:v>
                </c:pt>
                <c:pt idx="3611">
                  <c:v>80.347112897668907</c:v>
                </c:pt>
                <c:pt idx="3612">
                  <c:v>80.391097507752761</c:v>
                </c:pt>
                <c:pt idx="3613">
                  <c:v>80.391097507752761</c:v>
                </c:pt>
                <c:pt idx="3614">
                  <c:v>80.391097507752761</c:v>
                </c:pt>
                <c:pt idx="3615">
                  <c:v>81.514123923280493</c:v>
                </c:pt>
                <c:pt idx="3616">
                  <c:v>81.629051452854412</c:v>
                </c:pt>
                <c:pt idx="3617">
                  <c:v>81.991569771448638</c:v>
                </c:pt>
                <c:pt idx="3618">
                  <c:v>82.142678189962467</c:v>
                </c:pt>
                <c:pt idx="3619">
                  <c:v>82.618705179740815</c:v>
                </c:pt>
                <c:pt idx="3620">
                  <c:v>82.618705179740815</c:v>
                </c:pt>
                <c:pt idx="3621">
                  <c:v>82.618705179740815</c:v>
                </c:pt>
                <c:pt idx="3622">
                  <c:v>82.220715401401549</c:v>
                </c:pt>
                <c:pt idx="3623">
                  <c:v>81.006882048926514</c:v>
                </c:pt>
                <c:pt idx="3624">
                  <c:v>81.651043757896332</c:v>
                </c:pt>
                <c:pt idx="3625">
                  <c:v>82.914537154014411</c:v>
                </c:pt>
                <c:pt idx="3626">
                  <c:v>82.425740438727843</c:v>
                </c:pt>
                <c:pt idx="3627">
                  <c:v>82.425740438727843</c:v>
                </c:pt>
                <c:pt idx="3628">
                  <c:v>82.425740438727843</c:v>
                </c:pt>
                <c:pt idx="3629">
                  <c:v>83.360058688412025</c:v>
                </c:pt>
                <c:pt idx="3630">
                  <c:v>82.725119558975933</c:v>
                </c:pt>
                <c:pt idx="3631">
                  <c:v>82.466887332032101</c:v>
                </c:pt>
                <c:pt idx="3632">
                  <c:v>81.802152176410175</c:v>
                </c:pt>
                <c:pt idx="3633">
                  <c:v>81.727662110945616</c:v>
                </c:pt>
                <c:pt idx="3634">
                  <c:v>81.727662110945616</c:v>
                </c:pt>
                <c:pt idx="3635">
                  <c:v>81.727662110945616</c:v>
                </c:pt>
                <c:pt idx="3636">
                  <c:v>81.573006546457279</c:v>
                </c:pt>
                <c:pt idx="3637">
                  <c:v>81.372947513495305</c:v>
                </c:pt>
                <c:pt idx="3638">
                  <c:v>81.619119444125829</c:v>
                </c:pt>
                <c:pt idx="3639">
                  <c:v>81.560946250143985</c:v>
                </c:pt>
                <c:pt idx="3640">
                  <c:v>80.957931434478425</c:v>
                </c:pt>
                <c:pt idx="3641">
                  <c:v>80.957931434478425</c:v>
                </c:pt>
                <c:pt idx="3642">
                  <c:v>80.957931434478425</c:v>
                </c:pt>
                <c:pt idx="3643">
                  <c:v>79.053114046170151</c:v>
                </c:pt>
                <c:pt idx="3644">
                  <c:v>79.489413001034066</c:v>
                </c:pt>
                <c:pt idx="3645">
                  <c:v>80.982052027105041</c:v>
                </c:pt>
                <c:pt idx="3646">
                  <c:v>82.126361318479823</c:v>
                </c:pt>
                <c:pt idx="3647">
                  <c:v>81.939072011026042</c:v>
                </c:pt>
                <c:pt idx="3648">
                  <c:v>81.939072011026042</c:v>
                </c:pt>
                <c:pt idx="3649">
                  <c:v>81.939072011026042</c:v>
                </c:pt>
                <c:pt idx="3650">
                  <c:v>82.232775697714914</c:v>
                </c:pt>
                <c:pt idx="3651">
                  <c:v>81.665232341794393</c:v>
                </c:pt>
                <c:pt idx="3652">
                  <c:v>81.868129091535977</c:v>
                </c:pt>
                <c:pt idx="3653">
                  <c:v>82.5293171011833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DEF-4600-951A-C0E2B8567B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08946352"/>
        <c:axId val="1508947008"/>
      </c:lineChart>
      <c:dateAx>
        <c:axId val="1508946352"/>
        <c:scaling>
          <c:orientation val="minMax"/>
        </c:scaling>
        <c:delete val="1"/>
        <c:axPos val="b"/>
        <c:numFmt formatCode="General" sourceLinked="0"/>
        <c:majorTickMark val="none"/>
        <c:minorTickMark val="none"/>
        <c:tickLblPos val="nextTo"/>
        <c:crossAx val="1508947008"/>
        <c:crosses val="autoZero"/>
        <c:auto val="0"/>
        <c:lblOffset val="100"/>
        <c:baseTimeUnit val="days"/>
        <c:majorUnit val="1"/>
        <c:majorTimeUnit val="years"/>
      </c:dateAx>
      <c:valAx>
        <c:axId val="15089470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5089463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430484747808863"/>
          <c:y val="7.9576627279369108E-2"/>
          <c:w val="0.5637352340535553"/>
          <c:h val="0.72680717267376205"/>
        </c:manualLayout>
      </c:layout>
      <c:doughnut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Kolonne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42F-4D45-9D4E-ED4A42BA41A3}"/>
              </c:ext>
            </c:extLst>
          </c:dPt>
          <c:dPt>
            <c:idx val="1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42F-4D45-9D4E-ED4A42BA41A3}"/>
              </c:ext>
            </c:extLst>
          </c:dPt>
          <c:dLbls>
            <c:dLbl>
              <c:idx val="0"/>
              <c:layout>
                <c:manualLayout>
                  <c:x val="-0.21170720633926046"/>
                  <c:y val="7.937534722222218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C1763E8-3342-4FF2-954C-E3F9C9A2F504}" type="CELLRANGE">
                      <a:rPr lang="en-US" sz="1400" smtClean="0"/>
                      <a:pPr>
                        <a:defRPr sz="1400"/>
                      </a:pPr>
                      <a:t>[CELLEOMRÅDE]</a:t>
                    </a:fld>
                    <a:endParaRPr lang="nb-NO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844555838453184"/>
                      <c:h val="0.27666597222222217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F42F-4D45-9D4E-ED4A42BA41A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nb-NO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F42F-4D45-9D4E-ED4A42BA41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showDataLabelsRange val="1"/>
              </c:ext>
            </c:extLst>
          </c:dLbls>
          <c:cat>
            <c:strRef>
              <c:f>'Ark1'!$A$2:$A$3</c:f>
              <c:strCache>
                <c:ptCount val="2"/>
                <c:pt idx="0">
                  <c:v>Funksjonærer </c:v>
                </c:pt>
                <c:pt idx="1">
                  <c:v>Fagarbeidere</c:v>
                </c:pt>
              </c:strCache>
            </c:strRef>
          </c:cat>
          <c:val>
            <c:numRef>
              <c:f>'Ark1'!$B$2:$B$3</c:f>
              <c:numCache>
                <c:formatCode>_-* #\ ##0_-;\-* #\ ##0_-;_-* "-"??_-;_-@_-</c:formatCode>
                <c:ptCount val="2"/>
                <c:pt idx="0">
                  <c:v>2555</c:v>
                </c:pt>
                <c:pt idx="1">
                  <c:v>342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rk1'!$B$4</c15:f>
                <c15:dlblRangeCache>
                  <c:ptCount val="1"/>
                  <c:pt idx="0">
                    <c:v> 5 975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4-F42F-4D45-9D4E-ED4A42BA41A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430484747808863"/>
          <c:y val="7.9576627279369108E-2"/>
          <c:w val="0.5637352340535553"/>
          <c:h val="0.72680717267376205"/>
        </c:manualLayout>
      </c:layout>
      <c:doughnut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Kolonne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D56-4960-911A-4F0ABE21B60A}"/>
              </c:ext>
            </c:extLst>
          </c:dPt>
          <c:dPt>
            <c:idx val="1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D56-4960-911A-4F0ABE21B60A}"/>
              </c:ext>
            </c:extLst>
          </c:dPt>
          <c:dLbls>
            <c:dLbl>
              <c:idx val="0"/>
              <c:layout>
                <c:manualLayout>
                  <c:x val="-0.16189368834290135"/>
                  <c:y val="0.18597048611111111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/>
                      <a:t>1 000</a:t>
                    </a:r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844555838453184"/>
                      <c:h val="0.27666597222222217"/>
                    </c:manualLayout>
                  </c15:layout>
                  <c15:showDataLabelsRange val="1"/>
                </c:ext>
                <c:ext xmlns:c16="http://schemas.microsoft.com/office/drawing/2014/chart" uri="{C3380CC4-5D6E-409C-BE32-E72D297353CC}">
                  <c16:uniqueId val="{00000001-1D56-4960-911A-4F0ABE21B60A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nb-NO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1D56-4960-911A-4F0ABE21B60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showDataLabelsRange val="1"/>
              </c:ext>
            </c:extLst>
          </c:dLbls>
          <c:cat>
            <c:strRef>
              <c:f>'Ark1'!$A$2:$A$3</c:f>
              <c:strCache>
                <c:ptCount val="2"/>
                <c:pt idx="0">
                  <c:v>Funksjonærer </c:v>
                </c:pt>
                <c:pt idx="1">
                  <c:v>Fagarbeidere</c:v>
                </c:pt>
              </c:strCache>
            </c:strRef>
          </c:cat>
          <c:val>
            <c:numRef>
              <c:f>'Ark1'!$B$2:$B$3</c:f>
              <c:numCache>
                <c:formatCode>_-* #\ ##0_-;\-* #\ ##0_-;_-* "-"??_-;_-@_-</c:formatCode>
                <c:ptCount val="2"/>
                <c:pt idx="0">
                  <c:v>350</c:v>
                </c:pt>
                <c:pt idx="1">
                  <c:v>65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Ark1'!$B$4</c15:f>
                <c15:dlblRangeCache>
                  <c:ptCount val="1"/>
                  <c:pt idx="0">
                    <c:v> 1 000 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4-1D56-4960-911A-4F0ABE21B60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6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>
            <a:extLst>
              <a:ext uri="{FF2B5EF4-FFF2-40B4-BE49-F238E27FC236}">
                <a16:creationId xmlns:a16="http://schemas.microsoft.com/office/drawing/2014/main" id="{53AA0A41-9A03-41E9-9AFA-87C7CF56FCB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7BD69F55-EDAC-4506-81F6-01D85ED5AF2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F21A88-4657-4DD0-8FA7-38D28F5DE403}" type="datetimeFigureOut">
              <a:rPr lang="nb-NO" smtClean="0"/>
              <a:t>10.05.2023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27529AE0-E247-4F62-9F9A-0CBFF385D06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nb-NO"/>
              <a:t>dsgæhpøjstærph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F82A186D-D007-49B5-BCE1-2195CE94903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B8B332-AA9D-4349-B229-81682F38BA8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2475970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9F7FCD-4C84-49D5-BC3A-4B113A691156}" type="datetimeFigureOut">
              <a:rPr lang="nb-NO" smtClean="0"/>
              <a:t>10.05.2023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nb-NO"/>
              <a:t>dsgæhpøjstærph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718CC4-E393-4B95-9C94-5B43CC05FF8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0600485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A1954-F1DE-4630-A3D5-12D37692CF7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51429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A6E94C-C536-4126-95A6-8B95CA2F067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4227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8.sv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9.pn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8.sv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9.png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9.pn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9.png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9.png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2.png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8.svg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9.png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8.svg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9.png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9.pn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9.png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9.png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22.png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sv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8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9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8.sv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9.png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9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9.png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9.png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2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ormal sid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>
            <a:extLst>
              <a:ext uri="{FF2B5EF4-FFF2-40B4-BE49-F238E27FC236}">
                <a16:creationId xmlns:a16="http://schemas.microsoft.com/office/drawing/2014/main" id="{F84CB4D2-300F-46FD-A2C0-0A1B0981BF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</a:blip>
          <a:srcRect t="1" r="3015" b="-698"/>
          <a:stretch/>
        </p:blipFill>
        <p:spPr>
          <a:xfrm>
            <a:off x="0" y="0"/>
            <a:ext cx="12192000" cy="6148263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9797" y="274639"/>
            <a:ext cx="10972800" cy="1143000"/>
          </a:xfrm>
        </p:spPr>
        <p:txBody>
          <a:bodyPr/>
          <a:lstStyle/>
          <a:p>
            <a:r>
              <a:rPr lang="sv-SE" sz="3200" dirty="0">
                <a:solidFill>
                  <a:srgbClr val="84236B"/>
                </a:solidFill>
                <a:latin typeface="Arial"/>
                <a:ea typeface="+mj-ea"/>
                <a:cs typeface="Arial"/>
              </a:rPr>
              <a:t>ENMR – Mo i Rana lufthavn, Fagerlia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99797" y="1600201"/>
            <a:ext cx="10972800" cy="4525963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22CD909B-F3DE-4F9A-9E9C-828F6D72F6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2323" y="6394302"/>
            <a:ext cx="860275" cy="234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81626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9797" y="274639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99797" y="1600201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274997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7431373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og lit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AFC8D52C-7CBC-43AB-B38D-64FC09BC4F5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859712" y="0"/>
            <a:ext cx="4332287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954A463-EC8E-5847-B083-46ED2B2036A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19999" y="1933200"/>
            <a:ext cx="6815863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DBB7903-3F40-4A9D-86F5-F7024DC597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631507"/>
            <a:ext cx="6815862" cy="1019278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13" name="Plassholder for tekst 13">
            <a:extLst>
              <a:ext uri="{FF2B5EF4-FFF2-40B4-BE49-F238E27FC236}">
                <a16:creationId xmlns:a16="http://schemas.microsoft.com/office/drawing/2014/main" id="{6FE5A8EC-6766-4532-B995-555DA93B25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05CF659-7009-41D3-890A-C988EE8A70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037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4747">
          <p15:clr>
            <a:srgbClr val="FBAE40"/>
          </p15:clr>
        </p15:guide>
        <p15:guide id="4" pos="4951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og lite bilde kredite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8FF52738-4E59-48DF-9B25-AD1CFF9994B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859712" y="0"/>
            <a:ext cx="4332287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2184BDD8-EB22-4CFD-BB12-73A6CA8C2E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954A463-EC8E-5847-B083-46ED2B2036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9" y="1933200"/>
            <a:ext cx="6815863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DBB7903-3F40-4A9D-86F5-F7024DC597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631507"/>
            <a:ext cx="6815862" cy="1019278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12" name="Plassholder for tekst 13">
            <a:extLst>
              <a:ext uri="{FF2B5EF4-FFF2-40B4-BE49-F238E27FC236}">
                <a16:creationId xmlns:a16="http://schemas.microsoft.com/office/drawing/2014/main" id="{F7BAD015-1BBA-4149-94F8-21E1C76216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59712" y="5628968"/>
            <a:ext cx="4332287" cy="1229032"/>
          </a:xfrm>
          <a:solidFill>
            <a:schemeClr val="tx2"/>
          </a:solidFill>
        </p:spPr>
        <p:txBody>
          <a:bodyPr wrap="square" lIns="360000" tIns="360000" rIns="720000" bIns="360000" anchor="t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noProof="0"/>
              <a:t>Bildetekst kreditering</a:t>
            </a:r>
          </a:p>
        </p:txBody>
      </p:sp>
      <p:sp>
        <p:nvSpPr>
          <p:cNvPr id="14" name="Plassholder for tekst 13">
            <a:extLst>
              <a:ext uri="{FF2B5EF4-FFF2-40B4-BE49-F238E27FC236}">
                <a16:creationId xmlns:a16="http://schemas.microsoft.com/office/drawing/2014/main" id="{F811E609-4A2A-46A5-9D70-6EDF10A2D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1090370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46">
          <p15:clr>
            <a:srgbClr val="FBAE40"/>
          </p15:clr>
        </p15:guide>
        <p15:guide id="3" pos="4747">
          <p15:clr>
            <a:srgbClr val="FBAE40"/>
          </p15:clr>
        </p15:guide>
        <p15:guide id="4" pos="4951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og 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C9F52DD-4A98-4D71-8900-DC57F23D4C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69038" y="0"/>
            <a:ext cx="5922961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954A463-EC8E-5847-B083-46ED2B2036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0" y="1933200"/>
            <a:ext cx="5202000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631507"/>
            <a:ext cx="5202000" cy="1019278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tekst 13">
            <a:extLst>
              <a:ext uri="{FF2B5EF4-FFF2-40B4-BE49-F238E27FC236}">
                <a16:creationId xmlns:a16="http://schemas.microsoft.com/office/drawing/2014/main" id="{25FBC8C8-228E-477B-B58F-9805FED426F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EF5381C-20B7-45B6-B4CA-8B272784A2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67734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og stort bilde kredite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F2086882-4DF4-4FCF-9CFA-D768C6D519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69038" y="0"/>
            <a:ext cx="5922961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F920B60-1C94-4F58-89CA-C6AA11FC753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954A463-EC8E-5847-B083-46ED2B2036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0" y="1933200"/>
            <a:ext cx="5202000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631507"/>
            <a:ext cx="5202000" cy="1019278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tekst 13">
            <a:extLst>
              <a:ext uri="{FF2B5EF4-FFF2-40B4-BE49-F238E27FC236}">
                <a16:creationId xmlns:a16="http://schemas.microsoft.com/office/drawing/2014/main" id="{D30A3569-F534-459A-88C1-6A517D17A9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69038" y="5628968"/>
            <a:ext cx="5922961" cy="1229032"/>
          </a:xfrm>
          <a:solidFill>
            <a:schemeClr val="tx2"/>
          </a:solidFill>
        </p:spPr>
        <p:txBody>
          <a:bodyPr wrap="square" lIns="360000" tIns="360000" rIns="720000" bIns="360000" anchor="t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noProof="0"/>
              <a:t>Bildetekst kreditering</a:t>
            </a:r>
          </a:p>
        </p:txBody>
      </p:sp>
      <p:sp>
        <p:nvSpPr>
          <p:cNvPr id="11" name="Plassholder for tekst 13">
            <a:extLst>
              <a:ext uri="{FF2B5EF4-FFF2-40B4-BE49-F238E27FC236}">
                <a16:creationId xmlns:a16="http://schemas.microsoft.com/office/drawing/2014/main" id="{333722B0-66EF-4EAE-A36E-3DF2AB0FEC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862828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graf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F2D6B6-A69B-4BDF-8EDB-8EC348BA2D5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25950" y="1984375"/>
            <a:ext cx="7045325" cy="4156075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  <a:lvl2pPr marL="234000" indent="0">
              <a:buNone/>
              <a:defRPr/>
            </a:lvl2pPr>
            <a:lvl3pPr marL="468000" indent="0">
              <a:buNone/>
              <a:defRPr/>
            </a:lvl3pPr>
            <a:lvl4pPr marL="702000" indent="0">
              <a:buNone/>
              <a:defRPr/>
            </a:lvl4pPr>
            <a:lvl5pPr marL="936000" indent="0">
              <a:buNone/>
              <a:defRPr/>
            </a:lvl5pPr>
          </a:lstStyle>
          <a:p>
            <a:pPr lvl="0"/>
            <a:r>
              <a:rPr lang="nb-NO" sz="100"/>
              <a:t> </a:t>
            </a:r>
            <a:endParaRPr lang="en-US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8D852E-2E7A-9F42-A673-7300C8EA5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22" name="Plassholder for tekst 18">
            <a:extLst>
              <a:ext uri="{FF2B5EF4-FFF2-40B4-BE49-F238E27FC236}">
                <a16:creationId xmlns:a16="http://schemas.microsoft.com/office/drawing/2014/main" id="{3C91A1EB-4B86-4BC3-A61C-D93ABE3511E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5987" y="5220000"/>
            <a:ext cx="7046013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24" name="Plassholder for innhold 2">
            <a:extLst>
              <a:ext uri="{FF2B5EF4-FFF2-40B4-BE49-F238E27FC236}">
                <a16:creationId xmlns:a16="http://schemas.microsoft.com/office/drawing/2014/main" id="{450FEC5B-834D-4F5F-A75C-BD4FFA5D70F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9" y="1980000"/>
            <a:ext cx="3350351" cy="4160450"/>
          </a:xfrm>
          <a:solidFill>
            <a:schemeClr val="accent1"/>
          </a:solidFill>
        </p:spPr>
        <p:txBody>
          <a:bodyPr lIns="360000" tIns="360000" rIns="360000" bIns="360000"/>
          <a:lstStyle>
            <a:lvl1pPr marL="0" indent="0">
              <a:buNone/>
              <a:defRPr/>
            </a:lvl1pPr>
            <a:lvl2pPr marL="0">
              <a:buClr>
                <a:schemeClr val="bg1"/>
              </a:buClr>
              <a:defRPr sz="2000"/>
            </a:lvl2pPr>
            <a:lvl3pPr marL="468000">
              <a:buClr>
                <a:schemeClr val="bg1"/>
              </a:buClr>
              <a:defRPr/>
            </a:lvl3pPr>
            <a:lvl4pPr marL="702000">
              <a:buClr>
                <a:schemeClr val="bg1"/>
              </a:buClr>
              <a:defRPr/>
            </a:lvl4pPr>
            <a:lvl5pPr marL="936000">
              <a:buClr>
                <a:schemeClr val="bg1"/>
              </a:buCl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ekst 13">
            <a:extLst>
              <a:ext uri="{FF2B5EF4-FFF2-40B4-BE49-F238E27FC236}">
                <a16:creationId xmlns:a16="http://schemas.microsoft.com/office/drawing/2014/main" id="{27999DD9-0D5A-4743-9035-54FA74A45D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7A8E1B1-1990-4BD1-9B7C-C0809F69D6CC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4600363" y="2168011"/>
            <a:ext cx="6716925" cy="2888178"/>
          </a:xfrm>
        </p:spPr>
        <p:txBody>
          <a:bodyPr/>
          <a:lstStyle/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78728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2787">
          <p15:clr>
            <a:srgbClr val="FBAE40"/>
          </p15:clr>
        </p15:guide>
        <p15:guide id="4" pos="2560">
          <p15:clr>
            <a:srgbClr val="FBAE40"/>
          </p15:clr>
        </p15:guide>
        <p15:guide id="5" pos="4897">
          <p15:clr>
            <a:srgbClr val="FBAE40"/>
          </p15:clr>
        </p15:guide>
        <p15:guide id="6" pos="512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graf og tekst alterna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A8410F-D36D-41CF-9616-FDE9DB5C511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29587" y="1984375"/>
            <a:ext cx="3348000" cy="4156075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80988C-C20E-4FBB-A80E-404A6E7C21D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9138" y="1984375"/>
            <a:ext cx="7054850" cy="4156075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  <a:lvl2pPr marL="234000" indent="0">
              <a:buNone/>
              <a:defRPr/>
            </a:lvl2pPr>
            <a:lvl3pPr marL="468000" indent="0">
              <a:buNone/>
              <a:defRPr/>
            </a:lvl3pPr>
            <a:lvl4pPr marL="702000" indent="0">
              <a:buNone/>
              <a:defRPr/>
            </a:lvl4pPr>
            <a:lvl5pPr marL="936000" indent="0">
              <a:buNone/>
              <a:defRPr/>
            </a:lvl5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8D852E-2E7A-9F42-A673-7300C8EA5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22" name="Plassholder for tekst 18">
            <a:extLst>
              <a:ext uri="{FF2B5EF4-FFF2-40B4-BE49-F238E27FC236}">
                <a16:creationId xmlns:a16="http://schemas.microsoft.com/office/drawing/2014/main" id="{3C91A1EB-4B86-4BC3-A61C-D93ABE3511E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0000" y="5220000"/>
            <a:ext cx="7053988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12" name="Plassholder for tekst 13">
            <a:extLst>
              <a:ext uri="{FF2B5EF4-FFF2-40B4-BE49-F238E27FC236}">
                <a16:creationId xmlns:a16="http://schemas.microsoft.com/office/drawing/2014/main" id="{27999DD9-0D5A-4743-9035-54FA74A45D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7A8E1B1-1990-4BD1-9B7C-C0809F69D6CC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902351" y="2168011"/>
            <a:ext cx="6716925" cy="2888178"/>
          </a:xfrm>
        </p:spPr>
        <p:txBody>
          <a:bodyPr/>
          <a:lstStyle/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4" name="Plassholder for tekst 18">
            <a:extLst>
              <a:ext uri="{FF2B5EF4-FFF2-40B4-BE49-F238E27FC236}">
                <a16:creationId xmlns:a16="http://schemas.microsoft.com/office/drawing/2014/main" id="{593EFFD8-D333-45F6-A768-1FCA56971DF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129626" y="5220000"/>
            <a:ext cx="3348000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15" name="Plassholder for tekst 18">
            <a:extLst>
              <a:ext uri="{FF2B5EF4-FFF2-40B4-BE49-F238E27FC236}">
                <a16:creationId xmlns:a16="http://schemas.microsoft.com/office/drawing/2014/main" id="{CA5090C5-3A0D-4EE7-B260-2B6F8CBEE16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29626" y="1984375"/>
            <a:ext cx="3348000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7A7B1C2-0F4B-4101-B9DB-D1E682A0CBCC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8304001" y="2715865"/>
            <a:ext cx="2880000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898110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2787">
          <p15:clr>
            <a:srgbClr val="FBAE40"/>
          </p15:clr>
        </p15:guide>
        <p15:guide id="4" pos="2560">
          <p15:clr>
            <a:srgbClr val="FBAE40"/>
          </p15:clr>
        </p15:guide>
        <p15:guide id="5" pos="4897">
          <p15:clr>
            <a:srgbClr val="FBAE40"/>
          </p15:clr>
        </p15:guide>
        <p15:guide id="6" pos="512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grafer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694E1C6-3ED3-4491-BC15-AE411C88CC8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29626" y="1983600"/>
            <a:ext cx="3348000" cy="415685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AFC0DB-5738-40F0-B8A9-44FF1369345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4363" y="1983600"/>
            <a:ext cx="3348000" cy="415685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8D852E-2E7A-9F42-A673-7300C8EA5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22" name="Plassholder for tekst 18">
            <a:extLst>
              <a:ext uri="{FF2B5EF4-FFF2-40B4-BE49-F238E27FC236}">
                <a16:creationId xmlns:a16="http://schemas.microsoft.com/office/drawing/2014/main" id="{3C91A1EB-4B86-4BC3-A61C-D93ABE3511E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5988" y="5220000"/>
            <a:ext cx="3348000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23" name="Plassholder for tekst 18">
            <a:extLst>
              <a:ext uri="{FF2B5EF4-FFF2-40B4-BE49-F238E27FC236}">
                <a16:creationId xmlns:a16="http://schemas.microsoft.com/office/drawing/2014/main" id="{A875BC79-D654-4C41-B2F5-B91060AB20A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25988" y="1984375"/>
            <a:ext cx="3348000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24" name="Plassholder for innhold 2">
            <a:extLst>
              <a:ext uri="{FF2B5EF4-FFF2-40B4-BE49-F238E27FC236}">
                <a16:creationId xmlns:a16="http://schemas.microsoft.com/office/drawing/2014/main" id="{450FEC5B-834D-4F5F-A75C-BD4FFA5D70F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9" y="1980000"/>
            <a:ext cx="3350351" cy="4160450"/>
          </a:xfrm>
          <a:solidFill>
            <a:schemeClr val="accent1"/>
          </a:solidFill>
        </p:spPr>
        <p:txBody>
          <a:bodyPr lIns="360000" tIns="360000" rIns="360000" bIns="360000"/>
          <a:lstStyle>
            <a:lvl1pPr marL="0" indent="0">
              <a:buNone/>
              <a:defRPr/>
            </a:lvl1pPr>
            <a:lvl2pPr marL="0">
              <a:buClr>
                <a:schemeClr val="bg1"/>
              </a:buClr>
              <a:defRPr sz="2000"/>
            </a:lvl2pPr>
            <a:lvl3pPr marL="468000">
              <a:buClr>
                <a:schemeClr val="bg1"/>
              </a:buClr>
              <a:defRPr/>
            </a:lvl3pPr>
            <a:lvl4pPr marL="702000">
              <a:buClr>
                <a:schemeClr val="bg1"/>
              </a:buClr>
              <a:defRPr/>
            </a:lvl4pPr>
            <a:lvl5pPr marL="936000">
              <a:buClr>
                <a:schemeClr val="bg1"/>
              </a:buCl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6" name="Plassholder for tekst 13">
            <a:extLst>
              <a:ext uri="{FF2B5EF4-FFF2-40B4-BE49-F238E27FC236}">
                <a16:creationId xmlns:a16="http://schemas.microsoft.com/office/drawing/2014/main" id="{6D40D958-14BE-41EA-8032-35A528F15B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A6291DF9-E7EC-44DD-88E6-EB2B26CB57A6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4600363" y="2715865"/>
            <a:ext cx="2880000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32" name="Plassholder for tekst 18">
            <a:extLst>
              <a:ext uri="{FF2B5EF4-FFF2-40B4-BE49-F238E27FC236}">
                <a16:creationId xmlns:a16="http://schemas.microsoft.com/office/drawing/2014/main" id="{530C8A59-B4DB-4B01-973E-0B897409218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129626" y="5220000"/>
            <a:ext cx="3348000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33" name="Plassholder for tekst 18">
            <a:extLst>
              <a:ext uri="{FF2B5EF4-FFF2-40B4-BE49-F238E27FC236}">
                <a16:creationId xmlns:a16="http://schemas.microsoft.com/office/drawing/2014/main" id="{A2A33D77-6968-4EDE-9FD6-A396FA41B3F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29626" y="1984375"/>
            <a:ext cx="3348000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E57E1672-5A91-480C-BB2D-116381360421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8304001" y="2715865"/>
            <a:ext cx="2880000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655039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2787">
          <p15:clr>
            <a:srgbClr val="FBAE40"/>
          </p15:clr>
        </p15:guide>
        <p15:guide id="4" pos="2560">
          <p15:clr>
            <a:srgbClr val="FBAE40"/>
          </p15:clr>
        </p15:guide>
        <p15:guide id="5" pos="4897">
          <p15:clr>
            <a:srgbClr val="FBAE40"/>
          </p15:clr>
        </p15:guide>
        <p15:guide id="6" pos="512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graf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06B4E479-CAA3-44CE-B515-AD833BA28B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75625" y="1984375"/>
            <a:ext cx="5202000" cy="4156075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  <a:lvl2pPr marL="234000" indent="0">
              <a:buNone/>
              <a:defRPr/>
            </a:lvl2pPr>
            <a:lvl3pPr marL="468000" indent="0">
              <a:buNone/>
              <a:defRPr/>
            </a:lvl3pPr>
            <a:lvl4pPr marL="702000" indent="0">
              <a:buNone/>
              <a:defRPr/>
            </a:lvl4pPr>
            <a:lvl5pPr marL="936000" indent="0">
              <a:buNone/>
              <a:defRPr/>
            </a:lvl5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8CAAD7-3319-4DBE-948C-11D59542328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9139" y="1984375"/>
            <a:ext cx="5202000" cy="4156075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  <a:lvl2pPr marL="234000" indent="0">
              <a:buNone/>
              <a:defRPr/>
            </a:lvl2pPr>
            <a:lvl3pPr marL="468000" indent="0">
              <a:buNone/>
              <a:defRPr/>
            </a:lvl3pPr>
            <a:lvl4pPr marL="702000" indent="0">
              <a:buNone/>
              <a:defRPr/>
            </a:lvl4pPr>
            <a:lvl5pPr marL="936000" indent="0">
              <a:buNone/>
              <a:defRPr/>
            </a:lvl5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tekst 18">
            <a:extLst>
              <a:ext uri="{FF2B5EF4-FFF2-40B4-BE49-F238E27FC236}">
                <a16:creationId xmlns:a16="http://schemas.microsoft.com/office/drawing/2014/main" id="{FD7CD785-285C-41D8-AAB5-7A05424DE28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20000" y="5220000"/>
            <a:ext cx="5202000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14" name="Plassholder for tekst 18">
            <a:extLst>
              <a:ext uri="{FF2B5EF4-FFF2-40B4-BE49-F238E27FC236}">
                <a16:creationId xmlns:a16="http://schemas.microsoft.com/office/drawing/2014/main" id="{715319DC-D483-4937-82A8-8F76BD5FFAA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0000" y="1984376"/>
            <a:ext cx="5201131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16" name="Plassholder for tekst 13">
            <a:extLst>
              <a:ext uri="{FF2B5EF4-FFF2-40B4-BE49-F238E27FC236}">
                <a16:creationId xmlns:a16="http://schemas.microsoft.com/office/drawing/2014/main" id="{D94F30A8-221D-4524-92F0-8DB7952D0D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DE9000ED-1131-46B5-A43A-B36B38C86DA0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890729" y="2715865"/>
            <a:ext cx="4660759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4" name="Plassholder for tekst 18">
            <a:extLst>
              <a:ext uri="{FF2B5EF4-FFF2-40B4-BE49-F238E27FC236}">
                <a16:creationId xmlns:a16="http://schemas.microsoft.com/office/drawing/2014/main" id="{0461257D-6E01-486E-B3DC-DA92A00EDF5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74729" y="5220000"/>
            <a:ext cx="5202000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25" name="Plassholder for tekst 18">
            <a:extLst>
              <a:ext uri="{FF2B5EF4-FFF2-40B4-BE49-F238E27FC236}">
                <a16:creationId xmlns:a16="http://schemas.microsoft.com/office/drawing/2014/main" id="{9A5F9A21-48F0-4C9F-B50D-658EE22B0EF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74729" y="1984376"/>
            <a:ext cx="5201131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FA9A7B2-A114-4AEA-AC5D-A073188873EC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445458" y="2715865"/>
            <a:ext cx="4660759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874512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graf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2BC399BA-F0AF-4F84-BAC8-2C3EFC6D745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29625" y="1984375"/>
            <a:ext cx="3348000" cy="4156075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0F87D375-B033-4753-8CD6-4C35D06A3C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5988" y="1984375"/>
            <a:ext cx="3348000" cy="4156075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D2C5AD-B6B4-468F-A77C-3E5DE702E98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9138" y="1984375"/>
            <a:ext cx="3348000" cy="4156075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8D852E-2E7A-9F42-A673-7300C8EA5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4" name="Plassholder for tekst 18">
            <a:extLst>
              <a:ext uri="{FF2B5EF4-FFF2-40B4-BE49-F238E27FC236}">
                <a16:creationId xmlns:a16="http://schemas.microsoft.com/office/drawing/2014/main" id="{B75737E8-545F-4CAE-9F3B-55D0E4C4FE8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20000" y="5220000"/>
            <a:ext cx="3348000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15" name="Plassholder for tekst 18">
            <a:extLst>
              <a:ext uri="{FF2B5EF4-FFF2-40B4-BE49-F238E27FC236}">
                <a16:creationId xmlns:a16="http://schemas.microsoft.com/office/drawing/2014/main" id="{3A6E2646-DB79-4BFB-8574-206EBAB927F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000" y="1984375"/>
            <a:ext cx="3348000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18" name="Plassholder for tekst 18">
            <a:extLst>
              <a:ext uri="{FF2B5EF4-FFF2-40B4-BE49-F238E27FC236}">
                <a16:creationId xmlns:a16="http://schemas.microsoft.com/office/drawing/2014/main" id="{D001B536-4AA3-4298-9B69-86BAD665A57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29625" y="5220000"/>
            <a:ext cx="3348000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19" name="Plassholder for tekst 18">
            <a:extLst>
              <a:ext uri="{FF2B5EF4-FFF2-40B4-BE49-F238E27FC236}">
                <a16:creationId xmlns:a16="http://schemas.microsoft.com/office/drawing/2014/main" id="{BE3A00A8-584F-4916-B4A2-69FE8A4B64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9625" y="1984375"/>
            <a:ext cx="3348000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22" name="Plassholder for tekst 18">
            <a:extLst>
              <a:ext uri="{FF2B5EF4-FFF2-40B4-BE49-F238E27FC236}">
                <a16:creationId xmlns:a16="http://schemas.microsoft.com/office/drawing/2014/main" id="{3C91A1EB-4B86-4BC3-A61C-D93ABE3511E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5988" y="5220000"/>
            <a:ext cx="3348000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23" name="Plassholder for tekst 18">
            <a:extLst>
              <a:ext uri="{FF2B5EF4-FFF2-40B4-BE49-F238E27FC236}">
                <a16:creationId xmlns:a16="http://schemas.microsoft.com/office/drawing/2014/main" id="{A875BC79-D654-4C41-B2F5-B91060AB20A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25988" y="1984375"/>
            <a:ext cx="3348000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25" name="Plassholder for tekst 13">
            <a:extLst>
              <a:ext uri="{FF2B5EF4-FFF2-40B4-BE49-F238E27FC236}">
                <a16:creationId xmlns:a16="http://schemas.microsoft.com/office/drawing/2014/main" id="{628FBC12-7624-4CF3-87C9-8A32D803D9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BF7B160C-BF61-4493-A921-9359760C3BBC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894375" y="2715863"/>
            <a:ext cx="2880000" cy="234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0E740BBB-3FC3-4E1A-865F-8DF8562E8539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4600363" y="2715863"/>
            <a:ext cx="2880000" cy="234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98185357-FF86-45EB-B748-3AE7792C8C6D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8304000" y="2715863"/>
            <a:ext cx="2880000" cy="234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199412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2787">
          <p15:clr>
            <a:srgbClr val="FBAE40"/>
          </p15:clr>
        </p15:guide>
        <p15:guide id="4" pos="2560">
          <p15:clr>
            <a:srgbClr val="FBAE40"/>
          </p15:clr>
        </p15:guide>
        <p15:guide id="5" pos="4897">
          <p15:clr>
            <a:srgbClr val="FBAE40"/>
          </p15:clr>
        </p15:guide>
        <p15:guide id="6" pos="512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graf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697BF4C8-418A-4052-BE3F-56B5894436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495400" y="1983600"/>
            <a:ext cx="2422800" cy="416160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62822465-B312-49F0-B446-2F7416F0AC3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266669" y="1983600"/>
            <a:ext cx="2422800" cy="416160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9E9B29C-1D16-4B46-82AB-14FC4BA3536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050400" y="1983600"/>
            <a:ext cx="2422800" cy="416160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7CCC4B-6263-40B6-9846-8BF233273D0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18377" y="1983600"/>
            <a:ext cx="2422800" cy="416160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9137" y="6419783"/>
            <a:ext cx="10323157" cy="187102"/>
          </a:xfrm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tekst 18">
            <a:extLst>
              <a:ext uri="{FF2B5EF4-FFF2-40B4-BE49-F238E27FC236}">
                <a16:creationId xmlns:a16="http://schemas.microsoft.com/office/drawing/2014/main" id="{5BF4D152-F884-4439-8266-0180B59AD50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9996" y="5220000"/>
            <a:ext cx="2423399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13" name="Plassholder for tekst 18">
            <a:extLst>
              <a:ext uri="{FF2B5EF4-FFF2-40B4-BE49-F238E27FC236}">
                <a16:creationId xmlns:a16="http://schemas.microsoft.com/office/drawing/2014/main" id="{827C410A-334F-4B9E-AFAC-49D13200D9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9996" y="1984375"/>
            <a:ext cx="2423399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24" name="Plassholder for tekst 13">
            <a:extLst>
              <a:ext uri="{FF2B5EF4-FFF2-40B4-BE49-F238E27FC236}">
                <a16:creationId xmlns:a16="http://schemas.microsoft.com/office/drawing/2014/main" id="{158B584C-9242-4082-AB66-E8818AC707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751EABD1-5D9E-4878-AB31-EDC39AF9F520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899997" y="2715865"/>
            <a:ext cx="2057516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27" name="Plassholder for tekst 18">
            <a:extLst>
              <a:ext uri="{FF2B5EF4-FFF2-40B4-BE49-F238E27FC236}">
                <a16:creationId xmlns:a16="http://schemas.microsoft.com/office/drawing/2014/main" id="{ABB47701-D3F7-4392-B15E-CCCA2D1B5CB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493822" y="5220000"/>
            <a:ext cx="2423399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28" name="Plassholder for tekst 18">
            <a:extLst>
              <a:ext uri="{FF2B5EF4-FFF2-40B4-BE49-F238E27FC236}">
                <a16:creationId xmlns:a16="http://schemas.microsoft.com/office/drawing/2014/main" id="{902FEE4F-2E4C-474A-A0DC-65B0BF0EBEC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93822" y="1984375"/>
            <a:ext cx="2423399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1FADDE8-2990-43EB-B933-A56D1E589FB8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3673823" y="2715865"/>
            <a:ext cx="2057516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43" name="Plassholder for tekst 18">
            <a:extLst>
              <a:ext uri="{FF2B5EF4-FFF2-40B4-BE49-F238E27FC236}">
                <a16:creationId xmlns:a16="http://schemas.microsoft.com/office/drawing/2014/main" id="{90025967-CBD9-496A-9424-F3DE94BD2502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267648" y="5220000"/>
            <a:ext cx="2423399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44" name="Plassholder for tekst 18">
            <a:extLst>
              <a:ext uri="{FF2B5EF4-FFF2-40B4-BE49-F238E27FC236}">
                <a16:creationId xmlns:a16="http://schemas.microsoft.com/office/drawing/2014/main" id="{1A53525B-BD87-465E-9599-2A7DF91F353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67648" y="1984375"/>
            <a:ext cx="2423399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E391116F-F552-49E7-8737-CD467E97ECCF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447649" y="2715865"/>
            <a:ext cx="2057516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47" name="Plassholder for tekst 18">
            <a:extLst>
              <a:ext uri="{FF2B5EF4-FFF2-40B4-BE49-F238E27FC236}">
                <a16:creationId xmlns:a16="http://schemas.microsoft.com/office/drawing/2014/main" id="{724A212F-0A22-4F28-9566-7C806B40212B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50224" y="5220000"/>
            <a:ext cx="2423399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48" name="Plassholder for tekst 18">
            <a:extLst>
              <a:ext uri="{FF2B5EF4-FFF2-40B4-BE49-F238E27FC236}">
                <a16:creationId xmlns:a16="http://schemas.microsoft.com/office/drawing/2014/main" id="{90C79504-B594-4346-86B8-72328BFE8E4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50224" y="1984375"/>
            <a:ext cx="2423399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49" name="Content Placeholder 3">
            <a:extLst>
              <a:ext uri="{FF2B5EF4-FFF2-40B4-BE49-F238E27FC236}">
                <a16:creationId xmlns:a16="http://schemas.microsoft.com/office/drawing/2014/main" id="{80345C78-6813-4D94-9F11-5A1FDF391A22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9230225" y="2715865"/>
            <a:ext cx="2057516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</p:spTree>
    <p:extLst>
      <p:ext uri="{BB962C8B-B14F-4D97-AF65-F5344CB8AC3E}">
        <p14:creationId xmlns:p14="http://schemas.microsoft.com/office/powerpoint/2010/main" val="14847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  <p15:guide id="5" pos="2201">
          <p15:clr>
            <a:srgbClr val="FBAE40"/>
          </p15:clr>
        </p15:guide>
        <p15:guide id="6" pos="1979">
          <p15:clr>
            <a:srgbClr val="FBAE40"/>
          </p15:clr>
        </p15:guide>
        <p15:guide id="7" pos="5474">
          <p15:clr>
            <a:srgbClr val="FBAE40"/>
          </p15:clr>
        </p15:guide>
        <p15:guide id="8" pos="569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 + tekst -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 descr="Et bilde som inneholder utendørs, himmel, fjell, natur&#10;&#10;Automatisk generert beskrivelse">
            <a:extLst>
              <a:ext uri="{FF2B5EF4-FFF2-40B4-BE49-F238E27FC236}">
                <a16:creationId xmlns:a16="http://schemas.microsoft.com/office/drawing/2014/main" id="{7C748AC6-6A32-45B7-8BBF-149D4C76F3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81523" cy="6112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05172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24" name="Plassholder for tekst 13">
            <a:extLst>
              <a:ext uri="{FF2B5EF4-FFF2-40B4-BE49-F238E27FC236}">
                <a16:creationId xmlns:a16="http://schemas.microsoft.com/office/drawing/2014/main" id="{158B584C-9242-4082-AB66-E8818AC707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5B2D0E-5E04-4066-9799-DB1EE1AAD7A0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20725" y="1984375"/>
            <a:ext cx="2422669" cy="2080193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DACDD3E-88B0-4E0B-A1B7-29E8C58BBB1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20725" y="4064000"/>
            <a:ext cx="2420938" cy="2076450"/>
          </a:xfrm>
          <a:solidFill>
            <a:schemeClr val="accent1"/>
          </a:solidFill>
        </p:spPr>
        <p:txBody>
          <a:bodyPr lIns="180000" tIns="180000" rIns="180000" bIns="180000">
            <a:noAutofit/>
          </a:bodyPr>
          <a:lstStyle>
            <a:lvl1pPr marL="179388" indent="-179388">
              <a:spcBef>
                <a:spcPts val="800"/>
              </a:spcBef>
              <a:buClr>
                <a:schemeClr val="bg1"/>
              </a:buClr>
              <a:defRPr sz="18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44" name="Picture Placeholder 11">
            <a:extLst>
              <a:ext uri="{FF2B5EF4-FFF2-40B4-BE49-F238E27FC236}">
                <a16:creationId xmlns:a16="http://schemas.microsoft.com/office/drawing/2014/main" id="{3E2F2529-6BAF-439A-A7FD-F99C443E924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494089" y="1984375"/>
            <a:ext cx="2422670" cy="2080193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869BAEFB-4306-4BDB-A353-7BF5CCAC71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494179" y="4064000"/>
            <a:ext cx="2420939" cy="2076450"/>
          </a:xfrm>
          <a:solidFill>
            <a:schemeClr val="accent1"/>
          </a:solidFill>
        </p:spPr>
        <p:txBody>
          <a:bodyPr lIns="180000" tIns="180000" rIns="180000" bIns="180000">
            <a:noAutofit/>
          </a:bodyPr>
          <a:lstStyle>
            <a:lvl1pPr marL="179388" indent="-179388">
              <a:spcBef>
                <a:spcPts val="800"/>
              </a:spcBef>
              <a:buClr>
                <a:schemeClr val="bg1"/>
              </a:buClr>
              <a:defRPr sz="18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46" name="Picture Placeholder 11">
            <a:extLst>
              <a:ext uri="{FF2B5EF4-FFF2-40B4-BE49-F238E27FC236}">
                <a16:creationId xmlns:a16="http://schemas.microsoft.com/office/drawing/2014/main" id="{ED2444A2-6D17-438E-9C4C-6169E08BEDF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275243" y="1984375"/>
            <a:ext cx="2422671" cy="2080193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303E5062-B15B-4193-8FEF-9858726FC26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275389" y="4064000"/>
            <a:ext cx="2420940" cy="2076450"/>
          </a:xfrm>
          <a:solidFill>
            <a:schemeClr val="accent1"/>
          </a:solidFill>
        </p:spPr>
        <p:txBody>
          <a:bodyPr lIns="180000" tIns="180000" rIns="180000" bIns="180000">
            <a:noAutofit/>
          </a:bodyPr>
          <a:lstStyle>
            <a:lvl1pPr marL="179388" indent="-179388">
              <a:spcBef>
                <a:spcPts val="800"/>
              </a:spcBef>
              <a:buClr>
                <a:schemeClr val="bg1"/>
              </a:buClr>
              <a:defRPr sz="18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48" name="Picture Placeholder 11">
            <a:extLst>
              <a:ext uri="{FF2B5EF4-FFF2-40B4-BE49-F238E27FC236}">
                <a16:creationId xmlns:a16="http://schemas.microsoft.com/office/drawing/2014/main" id="{06BFCAB3-DA6F-4954-A06F-4B935B86C299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9054960" y="1984375"/>
            <a:ext cx="2416315" cy="2080193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CF5D25C2-2C87-4142-BE8D-9F5C55DCC5D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55178" y="4064000"/>
            <a:ext cx="2414588" cy="2076450"/>
          </a:xfrm>
          <a:solidFill>
            <a:schemeClr val="accent1"/>
          </a:solidFill>
        </p:spPr>
        <p:txBody>
          <a:bodyPr lIns="180000" tIns="180000" rIns="180000" bIns="180000">
            <a:noAutofit/>
          </a:bodyPr>
          <a:lstStyle>
            <a:lvl1pPr marL="179388" indent="-179388">
              <a:spcBef>
                <a:spcPts val="800"/>
              </a:spcBef>
              <a:buClr>
                <a:schemeClr val="bg1"/>
              </a:buClr>
              <a:defRPr sz="18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205336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  <p15:guide id="5" pos="2201">
          <p15:clr>
            <a:srgbClr val="FBAE40"/>
          </p15:clr>
        </p15:guide>
        <p15:guide id="6" pos="1979">
          <p15:clr>
            <a:srgbClr val="FBAE40"/>
          </p15:clr>
        </p15:guide>
        <p15:guide id="7" pos="5474">
          <p15:clr>
            <a:srgbClr val="FBAE40"/>
          </p15:clr>
        </p15:guide>
        <p15:guide id="8" pos="5698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grå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24" name="Plassholder for tekst 13">
            <a:extLst>
              <a:ext uri="{FF2B5EF4-FFF2-40B4-BE49-F238E27FC236}">
                <a16:creationId xmlns:a16="http://schemas.microsoft.com/office/drawing/2014/main" id="{158B584C-9242-4082-AB66-E8818AC707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929046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squar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5B2D0E-5E04-4066-9799-DB1EE1AAD7A0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20725" y="1984375"/>
            <a:ext cx="2422669" cy="2080193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DACDD3E-88B0-4E0B-A1B7-29E8C58BBB1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20725" y="4064000"/>
            <a:ext cx="2420938" cy="2076450"/>
          </a:xfrm>
          <a:solidFill>
            <a:schemeClr val="accent1"/>
          </a:solidFill>
        </p:spPr>
        <p:txBody>
          <a:bodyPr lIns="180000" tIns="180000" rIns="180000" bIns="180000">
            <a:noAutofit/>
          </a:bodyPr>
          <a:lstStyle>
            <a:lvl1pPr marL="179388" indent="-179388">
              <a:spcBef>
                <a:spcPts val="800"/>
              </a:spcBef>
              <a:buClr>
                <a:schemeClr val="bg1"/>
              </a:buClr>
              <a:defRPr sz="18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44" name="Picture Placeholder 11">
            <a:extLst>
              <a:ext uri="{FF2B5EF4-FFF2-40B4-BE49-F238E27FC236}">
                <a16:creationId xmlns:a16="http://schemas.microsoft.com/office/drawing/2014/main" id="{3E2F2529-6BAF-439A-A7FD-F99C443E924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494089" y="1984375"/>
            <a:ext cx="2422670" cy="2080193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869BAEFB-4306-4BDB-A353-7BF5CCAC71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494179" y="4064000"/>
            <a:ext cx="2420939" cy="2076450"/>
          </a:xfrm>
          <a:solidFill>
            <a:schemeClr val="accent1"/>
          </a:solidFill>
        </p:spPr>
        <p:txBody>
          <a:bodyPr lIns="180000" tIns="180000" rIns="180000" bIns="180000">
            <a:noAutofit/>
          </a:bodyPr>
          <a:lstStyle>
            <a:lvl1pPr marL="179388" indent="-179388">
              <a:spcBef>
                <a:spcPts val="800"/>
              </a:spcBef>
              <a:buClr>
                <a:schemeClr val="bg1"/>
              </a:buClr>
              <a:defRPr sz="18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46" name="Picture Placeholder 11">
            <a:extLst>
              <a:ext uri="{FF2B5EF4-FFF2-40B4-BE49-F238E27FC236}">
                <a16:creationId xmlns:a16="http://schemas.microsoft.com/office/drawing/2014/main" id="{ED2444A2-6D17-438E-9C4C-6169E08BEDF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275243" y="1984375"/>
            <a:ext cx="2422671" cy="2080193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303E5062-B15B-4193-8FEF-9858726FC26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275389" y="4064000"/>
            <a:ext cx="2420940" cy="2076450"/>
          </a:xfrm>
          <a:solidFill>
            <a:schemeClr val="accent1"/>
          </a:solidFill>
        </p:spPr>
        <p:txBody>
          <a:bodyPr lIns="180000" tIns="180000" rIns="180000" bIns="180000">
            <a:noAutofit/>
          </a:bodyPr>
          <a:lstStyle>
            <a:lvl1pPr marL="179388" indent="-179388">
              <a:spcBef>
                <a:spcPts val="800"/>
              </a:spcBef>
              <a:buClr>
                <a:schemeClr val="bg1"/>
              </a:buClr>
              <a:defRPr sz="18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48" name="Picture Placeholder 11">
            <a:extLst>
              <a:ext uri="{FF2B5EF4-FFF2-40B4-BE49-F238E27FC236}">
                <a16:creationId xmlns:a16="http://schemas.microsoft.com/office/drawing/2014/main" id="{06BFCAB3-DA6F-4954-A06F-4B935B86C299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9054960" y="1984375"/>
            <a:ext cx="2416315" cy="2080193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CF5D25C2-2C87-4142-BE8D-9F5C55DCC5D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55178" y="4064000"/>
            <a:ext cx="2414588" cy="2076450"/>
          </a:xfrm>
          <a:solidFill>
            <a:schemeClr val="accent1"/>
          </a:solidFill>
        </p:spPr>
        <p:txBody>
          <a:bodyPr lIns="180000" tIns="180000" rIns="180000" bIns="180000">
            <a:noAutofit/>
          </a:bodyPr>
          <a:lstStyle>
            <a:lvl1pPr marL="179388" indent="-179388">
              <a:spcBef>
                <a:spcPts val="800"/>
              </a:spcBef>
              <a:buClr>
                <a:schemeClr val="bg1"/>
              </a:buClr>
              <a:defRPr sz="18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784815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  <p15:guide id="5" pos="2201">
          <p15:clr>
            <a:srgbClr val="FBAE40"/>
          </p15:clr>
        </p15:guide>
        <p15:guide id="6" pos="1979">
          <p15:clr>
            <a:srgbClr val="FBAE40"/>
          </p15:clr>
        </p15:guide>
        <p15:guide id="7" pos="5474">
          <p15:clr>
            <a:srgbClr val="FBAE40"/>
          </p15:clr>
        </p15:guide>
        <p15:guide id="8" pos="5698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lite bilde gu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0">
            <a:extLst>
              <a:ext uri="{FF2B5EF4-FFF2-40B4-BE49-F238E27FC236}">
                <a16:creationId xmlns:a16="http://schemas.microsoft.com/office/drawing/2014/main" id="{8CB7E643-72CA-42D3-B8F4-B12BAD4ACC1B}"/>
              </a:ext>
            </a:extLst>
          </p:cNvPr>
          <p:cNvSpPr/>
          <p:nvPr userDrawn="1"/>
        </p:nvSpPr>
        <p:spPr>
          <a:xfrm>
            <a:off x="0" y="4615200"/>
            <a:ext cx="4615200" cy="2242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Bilde">
            <a:extLst>
              <a:ext uri="{FF2B5EF4-FFF2-40B4-BE49-F238E27FC236}">
                <a16:creationId xmlns:a16="http://schemas.microsoft.com/office/drawing/2014/main" id="{70C5FD86-6FDB-C641-B847-0B378C3B4E1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4615200" cy="4615200"/>
          </a:xfrm>
          <a:solidFill>
            <a:schemeClr val="bg2"/>
          </a:solidFill>
        </p:spPr>
        <p:txBody>
          <a:bodyPr lIns="720000" tIns="720000" rIns="720000" bIns="720000"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9C8A02EF-6CF4-6F4B-8683-956759D41FB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5197" y="631507"/>
            <a:ext cx="6138003" cy="5508943"/>
          </a:xfrm>
          <a:noFill/>
        </p:spPr>
        <p:txBody>
          <a:bodyPr lIns="0" tIns="0" rIns="0" bIns="0"/>
          <a:lstStyle>
            <a:lvl1pPr marL="0" indent="0">
              <a:buNone/>
              <a:defRPr sz="3000"/>
            </a:lvl1pPr>
            <a:lvl2pPr marL="0" indent="-285750">
              <a:buClr>
                <a:schemeClr val="bg1"/>
              </a:buClr>
              <a:buFont typeface="Wingdings" pitchFamily="2" charset="2"/>
              <a:buChar char="§"/>
              <a:defRPr sz="3000"/>
            </a:lvl2pPr>
            <a:lvl3pPr marL="753750" indent="-285750">
              <a:buClr>
                <a:schemeClr val="bg1"/>
              </a:buClr>
              <a:buFont typeface="Wingdings" pitchFamily="2" charset="2"/>
              <a:buChar char="§"/>
              <a:defRPr/>
            </a:lvl3pPr>
            <a:lvl4pPr marL="987750" indent="-285750">
              <a:buClr>
                <a:schemeClr val="bg1"/>
              </a:buClr>
              <a:buFont typeface="Wingdings" pitchFamily="2" charset="2"/>
              <a:buChar char="§"/>
              <a:defRPr/>
            </a:lvl4pPr>
            <a:lvl5pPr marL="1221750" indent="-285750">
              <a:buClr>
                <a:schemeClr val="bg1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  <a:p>
            <a:pPr lvl="0"/>
            <a:endParaRPr lang="nb-NO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FD54D4A-C642-4D39-BA17-B95CC0A23CCF}"/>
              </a:ext>
            </a:extLst>
          </p:cNvPr>
          <p:cNvGrpSpPr/>
          <p:nvPr userDrawn="1"/>
        </p:nvGrpSpPr>
        <p:grpSpPr>
          <a:xfrm>
            <a:off x="11583006" y="179995"/>
            <a:ext cx="428994" cy="428994"/>
            <a:chOff x="11583006" y="179995"/>
            <a:chExt cx="428994" cy="428994"/>
          </a:xfrm>
        </p:grpSpPr>
        <p:sp>
          <p:nvSpPr>
            <p:cNvPr id="13" name="Rektangel 7">
              <a:extLst>
                <a:ext uri="{FF2B5EF4-FFF2-40B4-BE49-F238E27FC236}">
                  <a16:creationId xmlns:a16="http://schemas.microsoft.com/office/drawing/2014/main" id="{976FEAB8-0260-44B2-826F-003717ED63EE}"/>
                </a:ext>
              </a:extLst>
            </p:cNvPr>
            <p:cNvSpPr/>
            <p:nvPr/>
          </p:nvSpPr>
          <p:spPr>
            <a:xfrm>
              <a:off x="11583006" y="179995"/>
              <a:ext cx="428994" cy="42899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4" name="Grafikk 8">
              <a:extLst>
                <a:ext uri="{FF2B5EF4-FFF2-40B4-BE49-F238E27FC236}">
                  <a16:creationId xmlns:a16="http://schemas.microsoft.com/office/drawing/2014/main" id="{F436227F-690D-44FE-8357-F1AB7B91A21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583006" y="179995"/>
              <a:ext cx="428994" cy="4289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10205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6">
          <p15:clr>
            <a:srgbClr val="FBAE40"/>
          </p15:clr>
        </p15:guide>
        <p15:guide id="2" orient="horz" pos="339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tort bilde gu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e">
            <a:extLst>
              <a:ext uri="{FF2B5EF4-FFF2-40B4-BE49-F238E27FC236}">
                <a16:creationId xmlns:a16="http://schemas.microsoft.com/office/drawing/2014/main" id="{70C5FD86-6FDB-C641-B847-0B378C3B4E1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4615200" cy="6858001"/>
          </a:xfrm>
          <a:solidFill>
            <a:schemeClr val="bg2"/>
          </a:solidFill>
        </p:spPr>
        <p:txBody>
          <a:bodyPr lIns="720000" tIns="720000" rIns="720000" bIns="720000"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9C8A02EF-6CF4-6F4B-8683-956759D41FB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5197" y="631507"/>
            <a:ext cx="6138003" cy="5508943"/>
          </a:xfrm>
          <a:noFill/>
        </p:spPr>
        <p:txBody>
          <a:bodyPr lIns="0" tIns="0" rIns="0" bIns="0"/>
          <a:lstStyle>
            <a:lvl1pPr marL="0" indent="0">
              <a:buNone/>
              <a:defRPr sz="3000"/>
            </a:lvl1pPr>
            <a:lvl2pPr marL="0" indent="-285750">
              <a:buClr>
                <a:schemeClr val="bg1"/>
              </a:buClr>
              <a:buFont typeface="Wingdings" pitchFamily="2" charset="2"/>
              <a:buChar char="§"/>
              <a:defRPr sz="3000"/>
            </a:lvl2pPr>
            <a:lvl3pPr marL="753750" indent="-285750">
              <a:buClr>
                <a:schemeClr val="bg1"/>
              </a:buClr>
              <a:buFont typeface="Wingdings" pitchFamily="2" charset="2"/>
              <a:buChar char="§"/>
              <a:defRPr/>
            </a:lvl3pPr>
            <a:lvl4pPr marL="987750" indent="-285750">
              <a:buClr>
                <a:schemeClr val="bg1"/>
              </a:buClr>
              <a:buFont typeface="Wingdings" pitchFamily="2" charset="2"/>
              <a:buChar char="§"/>
              <a:defRPr/>
            </a:lvl4pPr>
            <a:lvl5pPr marL="1221750" indent="-285750">
              <a:buClr>
                <a:schemeClr val="bg1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  <a:p>
            <a:pPr lvl="0"/>
            <a:endParaRPr lang="nb-NO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19DA5F9-B1CE-4C4C-BEA8-E9B016028932}"/>
              </a:ext>
            </a:extLst>
          </p:cNvPr>
          <p:cNvGrpSpPr/>
          <p:nvPr userDrawn="1"/>
        </p:nvGrpSpPr>
        <p:grpSpPr>
          <a:xfrm>
            <a:off x="11583006" y="179995"/>
            <a:ext cx="428994" cy="428994"/>
            <a:chOff x="11583006" y="179995"/>
            <a:chExt cx="428994" cy="428994"/>
          </a:xfrm>
        </p:grpSpPr>
        <p:sp>
          <p:nvSpPr>
            <p:cNvPr id="12" name="Rektangel 7">
              <a:extLst>
                <a:ext uri="{FF2B5EF4-FFF2-40B4-BE49-F238E27FC236}">
                  <a16:creationId xmlns:a16="http://schemas.microsoft.com/office/drawing/2014/main" id="{C330A23C-BBB1-4545-915D-EDEF68D58C5E}"/>
                </a:ext>
              </a:extLst>
            </p:cNvPr>
            <p:cNvSpPr/>
            <p:nvPr/>
          </p:nvSpPr>
          <p:spPr>
            <a:xfrm>
              <a:off x="11583006" y="179995"/>
              <a:ext cx="428994" cy="42899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3" name="Grafikk 8">
              <a:extLst>
                <a:ext uri="{FF2B5EF4-FFF2-40B4-BE49-F238E27FC236}">
                  <a16:creationId xmlns:a16="http://schemas.microsoft.com/office/drawing/2014/main" id="{F59F8C9A-BC69-4A4C-AA6A-E52B159AAF4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583006" y="179995"/>
              <a:ext cx="428994" cy="4289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30803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6">
          <p15:clr>
            <a:srgbClr val="FBAE40"/>
          </p15:clr>
        </p15:guide>
        <p15:guide id="2" orient="horz" pos="339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tort bilde grå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e">
            <a:extLst>
              <a:ext uri="{FF2B5EF4-FFF2-40B4-BE49-F238E27FC236}">
                <a16:creationId xmlns:a16="http://schemas.microsoft.com/office/drawing/2014/main" id="{70C5FD86-6FDB-C641-B847-0B378C3B4E1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4615200" cy="6858001"/>
          </a:xfrm>
          <a:solidFill>
            <a:schemeClr val="bg2"/>
          </a:solidFill>
        </p:spPr>
        <p:txBody>
          <a:bodyPr lIns="720000" tIns="720000" rIns="720000" bIns="720000"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9C8A02EF-6CF4-6F4B-8683-956759D41FB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5197" y="631507"/>
            <a:ext cx="6138003" cy="5508943"/>
          </a:xfrm>
          <a:noFill/>
        </p:spPr>
        <p:txBody>
          <a:bodyPr lIns="0" tIns="0" rIns="0" bIns="0"/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0" indent="-285750">
              <a:buClr>
                <a:schemeClr val="accent1"/>
              </a:buClr>
              <a:buFont typeface="Wingdings" pitchFamily="2" charset="2"/>
              <a:buChar char="§"/>
              <a:defRPr sz="3000">
                <a:solidFill>
                  <a:schemeClr val="bg1"/>
                </a:solidFill>
              </a:defRPr>
            </a:lvl2pPr>
            <a:lvl3pPr marL="753750" indent="-285750"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3pPr>
            <a:lvl4pPr marL="987750" indent="-285750"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4pPr>
            <a:lvl5pPr marL="1221750" indent="-285750"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  <a:p>
            <a:pPr lvl="0"/>
            <a:endParaRPr lang="nb-NO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C3B1896-3B6C-4EA7-9243-326DFD0B79B0}"/>
              </a:ext>
            </a:extLst>
          </p:cNvPr>
          <p:cNvGrpSpPr/>
          <p:nvPr userDrawn="1"/>
        </p:nvGrpSpPr>
        <p:grpSpPr>
          <a:xfrm>
            <a:off x="11583006" y="179995"/>
            <a:ext cx="428994" cy="428994"/>
            <a:chOff x="11583006" y="179995"/>
            <a:chExt cx="428994" cy="428994"/>
          </a:xfrm>
        </p:grpSpPr>
        <p:sp>
          <p:nvSpPr>
            <p:cNvPr id="12" name="Rektangel 7">
              <a:extLst>
                <a:ext uri="{FF2B5EF4-FFF2-40B4-BE49-F238E27FC236}">
                  <a16:creationId xmlns:a16="http://schemas.microsoft.com/office/drawing/2014/main" id="{6D0896E2-3CBB-4E2D-B654-243D983AE8F6}"/>
                </a:ext>
              </a:extLst>
            </p:cNvPr>
            <p:cNvSpPr/>
            <p:nvPr/>
          </p:nvSpPr>
          <p:spPr>
            <a:xfrm>
              <a:off x="11583006" y="179995"/>
              <a:ext cx="428994" cy="42899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3" name="Grafikk 8">
              <a:extLst>
                <a:ext uri="{FF2B5EF4-FFF2-40B4-BE49-F238E27FC236}">
                  <a16:creationId xmlns:a16="http://schemas.microsoft.com/office/drawing/2014/main" id="{EB80E5C2-7607-4FC0-96FF-BBE062D334C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583006" y="179995"/>
              <a:ext cx="428994" cy="4289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7406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6">
          <p15:clr>
            <a:srgbClr val="FBAE40"/>
          </p15:clr>
        </p15:guide>
        <p15:guide id="2" orient="horz" pos="339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tort bilde h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e">
            <a:extLst>
              <a:ext uri="{FF2B5EF4-FFF2-40B4-BE49-F238E27FC236}">
                <a16:creationId xmlns:a16="http://schemas.microsoft.com/office/drawing/2014/main" id="{70C5FD86-6FDB-C641-B847-0B378C3B4E1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4615200" cy="6858001"/>
          </a:xfrm>
          <a:solidFill>
            <a:schemeClr val="bg2"/>
          </a:solidFill>
        </p:spPr>
        <p:txBody>
          <a:bodyPr lIns="720000" tIns="720000" rIns="720000" bIns="720000"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9C8A02EF-6CF4-6F4B-8683-956759D41FB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5197" y="631504"/>
            <a:ext cx="6138003" cy="5508946"/>
          </a:xfrm>
          <a:noFill/>
        </p:spPr>
        <p:txBody>
          <a:bodyPr lIns="0" tIns="0" rIns="0" bIns="0"/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  <a:lvl2pPr marL="0" indent="-285750">
              <a:buClr>
                <a:schemeClr val="accent1"/>
              </a:buClr>
              <a:buFont typeface="Wingdings" pitchFamily="2" charset="2"/>
              <a:buChar char="§"/>
              <a:defRPr sz="3000">
                <a:solidFill>
                  <a:schemeClr val="tx2"/>
                </a:solidFill>
              </a:defRPr>
            </a:lvl2pPr>
            <a:lvl3pPr marL="753750" indent="-285750"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3pPr>
            <a:lvl4pPr marL="987750" indent="-285750"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4pPr>
            <a:lvl5pPr marL="1221750" indent="-285750"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  <a:p>
            <a:pPr lvl="0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6187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6">
          <p15:clr>
            <a:srgbClr val="FBAE40"/>
          </p15:clr>
        </p15:guide>
        <p15:guide id="2" orient="horz" pos="339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ekstra stort bil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>
            <a:extLst>
              <a:ext uri="{FF2B5EF4-FFF2-40B4-BE49-F238E27FC236}">
                <a16:creationId xmlns:a16="http://schemas.microsoft.com/office/drawing/2014/main" id="{57015357-85D6-2F4D-9803-D74731F4B554}"/>
              </a:ext>
            </a:extLst>
          </p:cNvPr>
          <p:cNvSpPr/>
          <p:nvPr/>
        </p:nvSpPr>
        <p:spPr>
          <a:xfrm flipV="1">
            <a:off x="0" y="4623597"/>
            <a:ext cx="4615200" cy="22344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C2ADE2A-446E-F44D-8B0C-69B38F62E15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0" y="0"/>
            <a:ext cx="4615201" cy="4623597"/>
          </a:xfrm>
          <a:solidFill>
            <a:schemeClr val="accent1"/>
          </a:solidFill>
        </p:spPr>
        <p:txBody>
          <a:bodyPr lIns="720000" tIns="612000" rIns="360000" bIns="180000"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5613402-9B9E-8B49-8A1C-573C429B4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F9809E6-B518-3F4B-B80A-00A1D6FE6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F6EC21E-B709-FC48-9BBF-7B55CC7A9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33F41770-945A-4DA5-B660-2640DF1B07E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15200" y="0"/>
            <a:ext cx="7576799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EDFF82F-89BD-4F3B-86D8-F4F625C663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33232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retningsområde oversi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6078D4F-24E1-45DC-AF3E-72B1320B2E0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8318" y="1490620"/>
            <a:ext cx="6817544" cy="2225718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17923C95-5232-49E2-9B90-AE0FBB8C873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859712" y="0"/>
            <a:ext cx="4332287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EEFF43DD-29C4-48EB-A301-08F156D422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DB71233F-273F-2249-859F-5DB684D79D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E79986B2-782D-D845-A6ED-76A4CEBEB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B8EC9E5-5DAB-654D-915A-C117D714C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3" name="Tittel 1">
            <a:extLst>
              <a:ext uri="{FF2B5EF4-FFF2-40B4-BE49-F238E27FC236}">
                <a16:creationId xmlns:a16="http://schemas.microsoft.com/office/drawing/2014/main" id="{D0C8F9BB-63F8-403B-ACB8-EACF13C91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631506"/>
            <a:ext cx="6824870" cy="443239"/>
          </a:xfrm>
        </p:spPr>
        <p:txBody>
          <a:bodyPr/>
          <a:lstStyle/>
          <a:p>
            <a:r>
              <a:rPr lang="nb-NO" noProof="0"/>
              <a:t>Klikk for å redigere tittelstil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5C991654-97B8-4A40-98B8-0A3C94456A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0000" y="4068000"/>
            <a:ext cx="3131805" cy="2114640"/>
          </a:xfrm>
          <a:solidFill>
            <a:schemeClr val="bg1"/>
          </a:solidFill>
        </p:spPr>
        <p:txBody>
          <a:bodyPr tIns="0" spcCol="288000">
            <a:noAutofit/>
          </a:bodyPr>
          <a:lstStyle>
            <a:lvl1pPr>
              <a:spcBef>
                <a:spcPts val="800"/>
              </a:spcBef>
              <a:defRPr sz="14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1" name="Plassholder for tekst 13">
            <a:extLst>
              <a:ext uri="{FF2B5EF4-FFF2-40B4-BE49-F238E27FC236}">
                <a16:creationId xmlns:a16="http://schemas.microsoft.com/office/drawing/2014/main" id="{3A4EE8F5-B857-4899-A05D-E634D0FE55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 noProof="0"/>
              <a:t>Stikktittel</a:t>
            </a:r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936FE630-4E4F-4E04-98BE-CB29AD01C050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32581" y="2164404"/>
            <a:ext cx="1925145" cy="1391596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203208DA-9EBB-46A3-ACEA-0E99EE20DFF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9185" y="1648959"/>
            <a:ext cx="1908541" cy="439511"/>
          </a:xfrm>
        </p:spPr>
        <p:txBody>
          <a:bodyPr>
            <a:noAutofit/>
          </a:bodyPr>
          <a:lstStyle>
            <a:lvl1pPr marL="0" indent="0">
              <a:buNone/>
              <a:defRPr sz="1400" b="1"/>
            </a:lvl1pPr>
            <a:lvl2pPr marL="234000" indent="0">
              <a:buNone/>
              <a:defRPr/>
            </a:lvl2pPr>
            <a:lvl3pPr marL="468000" indent="0">
              <a:buNone/>
              <a:defRPr/>
            </a:lvl3pPr>
            <a:lvl4pPr marL="702000" indent="0">
              <a:buNone/>
              <a:defRPr/>
            </a:lvl4pPr>
            <a:lvl5pPr marL="936000" indent="0">
              <a:buNone/>
              <a:defRPr/>
            </a:lvl5pPr>
          </a:lstStyle>
          <a:p>
            <a:pPr lvl="0"/>
            <a:r>
              <a:rPr lang="en-US" err="1"/>
              <a:t>Omsetning</a:t>
            </a:r>
            <a:endParaRPr lang="en-US"/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337D6017-FC66-4EB8-8A5C-C0DBF353ACF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04058" y="4068000"/>
            <a:ext cx="3131805" cy="2114640"/>
          </a:xfrm>
          <a:solidFill>
            <a:schemeClr val="bg1"/>
          </a:solidFill>
        </p:spPr>
        <p:txBody>
          <a:bodyPr tIns="0" spcCol="288000">
            <a:noAutofit/>
          </a:bodyPr>
          <a:lstStyle>
            <a:lvl1pPr>
              <a:spcBef>
                <a:spcPts val="800"/>
              </a:spcBef>
              <a:defRPr sz="14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7" name="Content Placeholder 7">
            <a:extLst>
              <a:ext uri="{FF2B5EF4-FFF2-40B4-BE49-F238E27FC236}">
                <a16:creationId xmlns:a16="http://schemas.microsoft.com/office/drawing/2014/main" id="{C588458D-14BC-4716-89F5-02A39D393D26}"/>
              </a:ext>
            </a:extLst>
          </p:cNvPr>
          <p:cNvSpPr>
            <a:spLocks noGrp="1"/>
          </p:cNvSpPr>
          <p:nvPr userDrawn="1">
            <p:ph sz="quarter" idx="28" hasCustomPrompt="1"/>
          </p:nvPr>
        </p:nvSpPr>
        <p:spPr>
          <a:xfrm>
            <a:off x="3207948" y="2164404"/>
            <a:ext cx="1925145" cy="1391596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1A0A1AC4-FC30-4D86-A263-07D8A7FAE303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224552" y="1648959"/>
            <a:ext cx="1908541" cy="439511"/>
          </a:xfrm>
        </p:spPr>
        <p:txBody>
          <a:bodyPr>
            <a:noAutofit/>
          </a:bodyPr>
          <a:lstStyle>
            <a:lvl1pPr marL="0" indent="0">
              <a:buNone/>
              <a:defRPr sz="1400" b="1"/>
            </a:lvl1pPr>
            <a:lvl2pPr marL="234000" indent="0">
              <a:buNone/>
              <a:defRPr/>
            </a:lvl2pPr>
            <a:lvl3pPr marL="468000" indent="0">
              <a:buNone/>
              <a:defRPr/>
            </a:lvl3pPr>
            <a:lvl4pPr marL="702000" indent="0">
              <a:buNone/>
              <a:defRPr/>
            </a:lvl4pPr>
            <a:lvl5pPr marL="936000" indent="0">
              <a:buNone/>
              <a:defRPr/>
            </a:lvl5pPr>
          </a:lstStyle>
          <a:p>
            <a:pPr lvl="0"/>
            <a:r>
              <a:rPr lang="en-US" err="1"/>
              <a:t>Resultat</a:t>
            </a:r>
            <a:endParaRPr lang="en-US"/>
          </a:p>
        </p:txBody>
      </p:sp>
      <p:sp>
        <p:nvSpPr>
          <p:cNvPr id="32" name="Content Placeholder 7">
            <a:extLst>
              <a:ext uri="{FF2B5EF4-FFF2-40B4-BE49-F238E27FC236}">
                <a16:creationId xmlns:a16="http://schemas.microsoft.com/office/drawing/2014/main" id="{99F3D800-473B-43F2-BA95-71048FE88223}"/>
              </a:ext>
            </a:extLst>
          </p:cNvPr>
          <p:cNvSpPr>
            <a:spLocks noGrp="1"/>
          </p:cNvSpPr>
          <p:nvPr userDrawn="1">
            <p:ph sz="quarter" idx="30" hasCustomPrompt="1"/>
          </p:nvPr>
        </p:nvSpPr>
        <p:spPr>
          <a:xfrm>
            <a:off x="5483315" y="2164404"/>
            <a:ext cx="1925145" cy="1391596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633B0C33-2C2C-42CE-BF90-ADCEE173993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499919" y="1648959"/>
            <a:ext cx="1908541" cy="439511"/>
          </a:xfrm>
        </p:spPr>
        <p:txBody>
          <a:bodyPr>
            <a:noAutofit/>
          </a:bodyPr>
          <a:lstStyle>
            <a:lvl1pPr marL="0" indent="0">
              <a:buNone/>
              <a:defRPr sz="1400" b="1"/>
            </a:lvl1pPr>
            <a:lvl2pPr marL="234000" indent="0">
              <a:buNone/>
              <a:defRPr/>
            </a:lvl2pPr>
            <a:lvl3pPr marL="468000" indent="0">
              <a:buNone/>
              <a:defRPr/>
            </a:lvl3pPr>
            <a:lvl4pPr marL="702000" indent="0">
              <a:buNone/>
              <a:defRPr/>
            </a:lvl4pPr>
            <a:lvl5pPr marL="936000" indent="0">
              <a:buNone/>
              <a:defRPr/>
            </a:lvl5pPr>
          </a:lstStyle>
          <a:p>
            <a:pPr lvl="0"/>
            <a:r>
              <a:rPr lang="en-US" err="1"/>
              <a:t>Medarbeidere</a:t>
            </a:r>
            <a:endParaRPr lang="en-US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9C417919-7009-4E89-B609-1ACFC17954F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60051" y="1667608"/>
            <a:ext cx="18000" cy="1890000"/>
          </a:xfr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528387FD-DDB7-47FB-A70F-BA0B8E4B75E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993240" y="1667608"/>
            <a:ext cx="18000" cy="1890000"/>
          </a:xfr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B1803A5F-25FB-40A1-AA0C-D33C1B061CB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118931" y="4025810"/>
            <a:ext cx="18000" cy="2113200"/>
          </a:xfr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931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1973">
          <p15:clr>
            <a:srgbClr val="FBAE40"/>
          </p15:clr>
        </p15:guide>
        <p15:guide id="8" orient="horz" pos="2341">
          <p15:clr>
            <a:srgbClr val="FBAE40"/>
          </p15:clr>
        </p15:guide>
        <p15:guide id="9" pos="4951">
          <p15:clr>
            <a:srgbClr val="FBAE40"/>
          </p15:clr>
        </p15:guide>
        <p15:guide id="10" pos="4747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ns/kvar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0C6E83D-2976-4960-945E-52C9930C115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8318" y="1490620"/>
            <a:ext cx="6817544" cy="2225718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17923C95-5232-49E2-9B90-AE0FBB8C873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859712" y="0"/>
            <a:ext cx="4332287" cy="6858000"/>
          </a:xfrm>
          <a:solidFill>
            <a:schemeClr val="bg2"/>
          </a:solidFill>
        </p:spPr>
        <p:txBody>
          <a:bodyPr lIns="720000" tIns="720000" rIns="720000" bIns="720000" anchor="ctr" anchorCtr="0">
            <a:noAutofit/>
          </a:bodyPr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EEFF43DD-29C4-48EB-A301-08F156D422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BB3DACF-FED6-4168-8A90-A42D22B1BB6E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897796" y="1673225"/>
            <a:ext cx="6425342" cy="1860550"/>
          </a:xfrm>
        </p:spPr>
        <p:txBody>
          <a:bodyPr>
            <a:noAutofit/>
          </a:bodyPr>
          <a:lstStyle/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DB71233F-273F-2249-859F-5DB684D79D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E79986B2-782D-D845-A6ED-76A4CEBEB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B8EC9E5-5DAB-654D-915A-C117D714C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3" name="Tittel 1">
            <a:extLst>
              <a:ext uri="{FF2B5EF4-FFF2-40B4-BE49-F238E27FC236}">
                <a16:creationId xmlns:a16="http://schemas.microsoft.com/office/drawing/2014/main" id="{D0C8F9BB-63F8-403B-ACB8-EACF13C91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631506"/>
            <a:ext cx="6824870" cy="443239"/>
          </a:xfrm>
        </p:spPr>
        <p:txBody>
          <a:bodyPr/>
          <a:lstStyle/>
          <a:p>
            <a:r>
              <a:rPr lang="nb-NO" noProof="0"/>
              <a:t>Klikk for å redigere tittelstil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5C991654-97B8-4A40-98B8-0A3C94456A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0000" y="4038601"/>
            <a:ext cx="6818400" cy="2130068"/>
          </a:xfrm>
          <a:solidFill>
            <a:schemeClr val="bg1"/>
          </a:solidFill>
        </p:spPr>
        <p:txBody>
          <a:bodyPr tIns="0" spcCol="288000">
            <a:noAutofit/>
          </a:bodyPr>
          <a:lstStyle>
            <a:lvl1pPr>
              <a:spcBef>
                <a:spcPts val="1000"/>
              </a:spcBef>
              <a:defRPr sz="1600"/>
            </a:lvl1pPr>
            <a:lvl2pPr>
              <a:spcBef>
                <a:spcPts val="400"/>
              </a:spcBef>
              <a:defRPr sz="1400"/>
            </a:lvl2pPr>
            <a:lvl3pPr>
              <a:spcBef>
                <a:spcPts val="400"/>
              </a:spcBef>
              <a:defRPr sz="1400"/>
            </a:lvl3pPr>
            <a:lvl4pPr>
              <a:spcBef>
                <a:spcPts val="400"/>
              </a:spcBef>
              <a:defRPr sz="1400"/>
            </a:lvl4pPr>
            <a:lvl5pPr>
              <a:spcBef>
                <a:spcPts val="400"/>
              </a:spcBef>
              <a:defRPr sz="1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1" name="Plassholder for tekst 13">
            <a:extLst>
              <a:ext uri="{FF2B5EF4-FFF2-40B4-BE49-F238E27FC236}">
                <a16:creationId xmlns:a16="http://schemas.microsoft.com/office/drawing/2014/main" id="{3A4EE8F5-B857-4899-A05D-E634D0FE55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 noProof="0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108981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1973">
          <p15:clr>
            <a:srgbClr val="FBAE40"/>
          </p15:clr>
        </p15:guide>
        <p15:guide id="8" orient="horz" pos="2341">
          <p15:clr>
            <a:srgbClr val="FBAE40"/>
          </p15:clr>
        </p15:guide>
        <p15:guide id="9" pos="4951">
          <p15:clr>
            <a:srgbClr val="FBAE40"/>
          </p15:clr>
        </p15:guide>
        <p15:guide id="10" pos="4747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F1B76F82-8C57-4FEB-9798-D3081461527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20000" y="1984375"/>
            <a:ext cx="5202000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3">
            <a:extLst>
              <a:ext uri="{FF2B5EF4-FFF2-40B4-BE49-F238E27FC236}">
                <a16:creationId xmlns:a16="http://schemas.microsoft.com/office/drawing/2014/main" id="{318CD61F-8F44-4985-91EF-D84166C754D9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720000" y="2556887"/>
            <a:ext cx="5202000" cy="3583563"/>
          </a:xfrm>
        </p:spPr>
        <p:txBody>
          <a:bodyPr tIns="180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7DA3F827-2223-4819-881C-BDAC45C3463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70002" y="1984375"/>
            <a:ext cx="5202000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13" name="Plassholder for innhold 3">
            <a:extLst>
              <a:ext uri="{FF2B5EF4-FFF2-40B4-BE49-F238E27FC236}">
                <a16:creationId xmlns:a16="http://schemas.microsoft.com/office/drawing/2014/main" id="{B1DA75B1-287C-4CBE-A719-0C9B3A2885D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6270002" y="2556887"/>
            <a:ext cx="5202000" cy="3583563"/>
          </a:xfrm>
        </p:spPr>
        <p:txBody>
          <a:bodyPr tIns="180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ekst 13">
            <a:extLst>
              <a:ext uri="{FF2B5EF4-FFF2-40B4-BE49-F238E27FC236}">
                <a16:creationId xmlns:a16="http://schemas.microsoft.com/office/drawing/2014/main" id="{0DD27149-AB67-4FC1-9A47-0FE22156E9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2189748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ormal sid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>
            <a:extLst>
              <a:ext uri="{FF2B5EF4-FFF2-40B4-BE49-F238E27FC236}">
                <a16:creationId xmlns:a16="http://schemas.microsoft.com/office/drawing/2014/main" id="{F84CB4D2-300F-46FD-A2C0-0A1B0981BF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</a:blip>
          <a:srcRect t="1" r="3015" b="-698"/>
          <a:stretch/>
        </p:blipFill>
        <p:spPr>
          <a:xfrm>
            <a:off x="0" y="0"/>
            <a:ext cx="12192000" cy="6148263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9797" y="274639"/>
            <a:ext cx="10972800" cy="1143000"/>
          </a:xfrm>
        </p:spPr>
        <p:txBody>
          <a:bodyPr/>
          <a:lstStyle/>
          <a:p>
            <a:r>
              <a:rPr lang="sv-SE" sz="3200" dirty="0">
                <a:solidFill>
                  <a:srgbClr val="84236B"/>
                </a:solidFill>
                <a:latin typeface="Arial"/>
                <a:ea typeface="+mj-ea"/>
                <a:cs typeface="Arial"/>
              </a:rPr>
              <a:t>ENMR – Mo i Rana lufthavn, Fagerlia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99797" y="1600201"/>
            <a:ext cx="10972800" cy="4525963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22CD909B-F3DE-4F9A-9E9C-828F6D72F6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2323" y="6394302"/>
            <a:ext cx="860275" cy="234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10639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ittel utfallen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D4CACC4C-CF88-4A94-8F8D-5419AED1DA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720000" tIns="720000" rIns="720000" bIns="720000" anchor="ctr" anchorCtr="0">
            <a:noAutofit/>
          </a:bodyPr>
          <a:lstStyle>
            <a:lvl1pPr marL="0" indent="0" algn="r">
              <a:buNone/>
              <a:defRPr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936471F2-7DD3-4EA4-A991-B9DED9A52AE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DB71233F-273F-2249-859F-5DB684D79D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B8EC9E5-5DAB-654D-915A-C117D714C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D5719EC7-73F3-B949-AD07-FCC43E3785AB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0" y="0"/>
            <a:ext cx="3429001" cy="1832956"/>
          </a:xfrm>
          <a:solidFill>
            <a:schemeClr val="accent1"/>
          </a:solidFill>
        </p:spPr>
        <p:txBody>
          <a:bodyPr lIns="540000" tIns="630000" rIns="360000" bIns="180000">
            <a:noAutofit/>
          </a:bodyPr>
          <a:lstStyle>
            <a:lvl1pPr>
              <a:defRPr/>
            </a:lvl1pPr>
          </a:lstStyle>
          <a:p>
            <a:r>
              <a:rPr lang="nb-NO"/>
              <a:t>Klikk for å redigere</a:t>
            </a:r>
          </a:p>
        </p:txBody>
      </p:sp>
      <p:sp>
        <p:nvSpPr>
          <p:cNvPr id="9" name="Plassholder for bunntekst 5">
            <a:extLst>
              <a:ext uri="{FF2B5EF4-FFF2-40B4-BE49-F238E27FC236}">
                <a16:creationId xmlns:a16="http://schemas.microsoft.com/office/drawing/2014/main" id="{7DCFFA88-8642-4A82-9F18-4EF1055A8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9997" y="6419782"/>
            <a:ext cx="10389328" cy="187105"/>
          </a:xfrm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A6F74F68-0329-4889-8127-7853F830B8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006" y="1799705"/>
            <a:ext cx="3430007" cy="1629296"/>
          </a:xfrm>
          <a:solidFill>
            <a:schemeClr val="accent1"/>
          </a:solidFill>
        </p:spPr>
        <p:txBody>
          <a:bodyPr lIns="540000" rIns="360000" bIns="180000">
            <a:noAutofit/>
          </a:bodyPr>
          <a:lstStyle>
            <a:lvl1pPr marL="180975" indent="-180975">
              <a:spcBef>
                <a:spcPts val="600"/>
              </a:spcBef>
              <a:buClr>
                <a:schemeClr val="bg1"/>
              </a:buClr>
              <a:defRPr sz="15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991764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ittel utfallen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24425C-5A00-42E2-8742-3B49EF4AD3F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720000" tIns="720000" rIns="720000" bIns="720000" anchor="ctr" anchorCtr="0">
            <a:noAutofit/>
          </a:bodyPr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3438023-DDDF-4C39-84C9-218280072A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DB71233F-273F-2249-859F-5DB684D79D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B8EC9E5-5DAB-654D-915A-C117D714C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3" name="Tittel 4">
            <a:extLst>
              <a:ext uri="{FF2B5EF4-FFF2-40B4-BE49-F238E27FC236}">
                <a16:creationId xmlns:a16="http://schemas.microsoft.com/office/drawing/2014/main" id="{83E66060-A9E2-4242-81B3-A55F57BCA92D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0" y="3428999"/>
            <a:ext cx="3429001" cy="1713546"/>
          </a:xfrm>
          <a:solidFill>
            <a:schemeClr val="accent1"/>
          </a:solidFill>
        </p:spPr>
        <p:txBody>
          <a:bodyPr lIns="540000" tIns="504000" rIns="360000" bIns="180000">
            <a:noAutofit/>
          </a:bodyPr>
          <a:lstStyle>
            <a:lvl1pPr>
              <a:defRPr/>
            </a:lvl1pPr>
          </a:lstStyle>
          <a:p>
            <a:r>
              <a:rPr lang="nb-NO" noProof="0"/>
              <a:t>Klikk for å redige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E5F1FCD-3438-4BDC-B3DF-9EECFFE3026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006" y="5112324"/>
            <a:ext cx="3430007" cy="1745675"/>
          </a:xfrm>
          <a:solidFill>
            <a:schemeClr val="accent1"/>
          </a:solidFill>
        </p:spPr>
        <p:txBody>
          <a:bodyPr lIns="540000" rIns="360000" bIns="180000">
            <a:noAutofit/>
          </a:bodyPr>
          <a:lstStyle>
            <a:lvl1pPr marL="180975" indent="-180975">
              <a:spcBef>
                <a:spcPts val="600"/>
              </a:spcBef>
              <a:buClr>
                <a:schemeClr val="bg1"/>
              </a:buClr>
              <a:defRPr sz="15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698951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ittel utfallen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e">
            <a:extLst>
              <a:ext uri="{FF2B5EF4-FFF2-40B4-BE49-F238E27FC236}">
                <a16:creationId xmlns:a16="http://schemas.microsoft.com/office/drawing/2014/main" id="{380286EB-9435-4F0E-BF31-DB3824A5F96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720000" tIns="720000" rIns="720000" bIns="720000" anchor="ctr" anchorCtr="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nb-NO" noProof="0"/>
              <a:t>Klikk på ikonet for å legge til et bild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10D69F0-E13B-4E7B-8601-664B3F69C6D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DB71233F-273F-2249-859F-5DB684D79D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r>
              <a:rPr lang="en-US" noProof="0"/>
              <a:t>25.06.2021</a:t>
            </a:r>
            <a:endParaRPr lang="nb-NO" noProof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B8EC9E5-5DAB-654D-915A-C117D714C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fld id="{6FC27C0E-69D6-2140-BAEC-594D114B0964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9" name="Plassholder for bunntekst 5">
            <a:extLst>
              <a:ext uri="{FF2B5EF4-FFF2-40B4-BE49-F238E27FC236}">
                <a16:creationId xmlns:a16="http://schemas.microsoft.com/office/drawing/2014/main" id="{B8B17DE3-49BE-48A1-9380-F633CC374F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9997" y="6419782"/>
            <a:ext cx="10389328" cy="187105"/>
          </a:xfrm>
        </p:spPr>
        <p:txBody>
          <a:bodyPr/>
          <a:lstStyle>
            <a:lvl1pPr>
              <a:defRPr b="0" i="0">
                <a:latin typeface="+mj-lt"/>
              </a:defRPr>
            </a:lvl1pPr>
          </a:lstStyle>
          <a:p>
            <a:endParaRPr lang="nb-NO"/>
          </a:p>
        </p:txBody>
      </p:sp>
      <p:sp>
        <p:nvSpPr>
          <p:cNvPr id="12" name="Tittel 4">
            <a:extLst>
              <a:ext uri="{FF2B5EF4-FFF2-40B4-BE49-F238E27FC236}">
                <a16:creationId xmlns:a16="http://schemas.microsoft.com/office/drawing/2014/main" id="{E6D7E407-65E5-420F-9EA6-EE521CE9CB68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8762999" y="3428999"/>
            <a:ext cx="3429001" cy="1713546"/>
          </a:xfrm>
          <a:solidFill>
            <a:schemeClr val="accent1"/>
          </a:solidFill>
        </p:spPr>
        <p:txBody>
          <a:bodyPr lIns="540000" tIns="504000" rIns="540000" bIns="180000">
            <a:noAutofit/>
          </a:bodyPr>
          <a:lstStyle>
            <a:lvl1pPr>
              <a:defRPr/>
            </a:lvl1pPr>
          </a:lstStyle>
          <a:p>
            <a:r>
              <a:rPr lang="nb-NO" noProof="0"/>
              <a:t>Klikk for å rediger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3E9FFFF8-1B4F-471D-849D-956E0C4EE2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761993" y="5112324"/>
            <a:ext cx="3430007" cy="1745675"/>
          </a:xfrm>
          <a:solidFill>
            <a:schemeClr val="accent1"/>
          </a:solidFill>
        </p:spPr>
        <p:txBody>
          <a:bodyPr lIns="540000" rIns="540000" bIns="180000">
            <a:noAutofit/>
          </a:bodyPr>
          <a:lstStyle>
            <a:lvl1pPr marL="180975" indent="-180975">
              <a:spcBef>
                <a:spcPts val="600"/>
              </a:spcBef>
              <a:buClr>
                <a:schemeClr val="bg1"/>
              </a:buClr>
              <a:defRPr sz="15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586575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0D16F0E-DE74-DC49-9F49-B18AE520C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C00ACBC6-1301-824B-A95D-34640778D0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55537CD-971A-0F4B-B8C5-852D412DE3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0A6B2D3C-1843-7E41-8F15-B919A5C18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tekst 13">
            <a:extLst>
              <a:ext uri="{FF2B5EF4-FFF2-40B4-BE49-F238E27FC236}">
                <a16:creationId xmlns:a16="http://schemas.microsoft.com/office/drawing/2014/main" id="{9212414C-FC9F-4EF1-8D62-DF92350C64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940558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 grå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0D16F0E-DE74-DC49-9F49-B18AE520C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C00ACBC6-1301-824B-A95D-34640778D0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55537CD-971A-0F4B-B8C5-852D412DE3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0A6B2D3C-1843-7E41-8F15-B919A5C18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tekst 13">
            <a:extLst>
              <a:ext uri="{FF2B5EF4-FFF2-40B4-BE49-F238E27FC236}">
                <a16:creationId xmlns:a16="http://schemas.microsoft.com/office/drawing/2014/main" id="{F35BF3F8-547C-4AFA-91BA-24A0E0459F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1889718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e">
            <a:extLst>
              <a:ext uri="{FF2B5EF4-FFF2-40B4-BE49-F238E27FC236}">
                <a16:creationId xmlns:a16="http://schemas.microsoft.com/office/drawing/2014/main" id="{040660A8-334E-4B67-BD09-CF682ACC9DC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>
              <a:buNone/>
              <a:defRPr/>
            </a:lvl1pPr>
          </a:lstStyle>
          <a:p>
            <a:r>
              <a:rPr lang="nb-NO" noProof="0"/>
              <a:t>Klikk på ikonet for å legge til et bild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3AA496-E2E6-47FB-96FC-D1A21672FB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0D16F0E-DE74-DC49-9F49-B18AE520C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C00ACBC6-1301-824B-A95D-34640778D0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55537CD-971A-0F4B-B8C5-852D412DE3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0A6B2D3C-1843-7E41-8F15-B919A5C18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tekst 13">
            <a:extLst>
              <a:ext uri="{FF2B5EF4-FFF2-40B4-BE49-F238E27FC236}">
                <a16:creationId xmlns:a16="http://schemas.microsoft.com/office/drawing/2014/main" id="{9212414C-FC9F-4EF1-8D62-DF92350C64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152611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DB71233F-273F-2249-859F-5DB684D79D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E79986B2-782D-D845-A6ED-76A4CEBEB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B8EC9E5-5DAB-654D-915A-C117D714C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6099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nimer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_logo_B_white_H264" descr="AF_logo_B_white_H264">
            <a:hlinkClick r:id="" action="ppaction://media"/>
            <a:extLst>
              <a:ext uri="{FF2B5EF4-FFF2-40B4-BE49-F238E27FC236}">
                <a16:creationId xmlns:a16="http://schemas.microsoft.com/office/drawing/2014/main" id="{22CA2B59-F854-4E67-A582-D14777CBB0DD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-487" t="-1017" r="-487" b="-1017"/>
          <a:stretch/>
        </p:blipFill>
        <p:spPr>
          <a:xfrm>
            <a:off x="-59410" y="-69742"/>
            <a:ext cx="12310820" cy="6997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425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08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O Oversikt 8 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11" hidden="1">
            <a:extLst>
              <a:ext uri="{FF2B5EF4-FFF2-40B4-BE49-F238E27FC236}">
                <a16:creationId xmlns:a16="http://schemas.microsoft.com/office/drawing/2014/main" id="{8CC22A8B-FC44-4324-AEAA-F5483901D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9" progId="TCLayout.ActiveDocument.1">
                  <p:embed/>
                </p:oleObj>
              </mc:Choice>
              <mc:Fallback>
                <p:oleObj name="think-cell Slide" r:id="rId4" imgW="530" imgH="529" progId="TCLayout.ActiveDocument.1">
                  <p:embed/>
                  <p:pic>
                    <p:nvPicPr>
                      <p:cNvPr id="26" name="Objekt 11" hidden="1">
                        <a:extLst>
                          <a:ext uri="{FF2B5EF4-FFF2-40B4-BE49-F238E27FC236}">
                            <a16:creationId xmlns:a16="http://schemas.microsoft.com/office/drawing/2014/main" id="{8CC22A8B-FC44-4324-AEAA-F5483901DC9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Logo">
            <a:extLst>
              <a:ext uri="{FF2B5EF4-FFF2-40B4-BE49-F238E27FC236}">
                <a16:creationId xmlns:a16="http://schemas.microsoft.com/office/drawing/2014/main" id="{B037B1D5-603A-41FD-8C5B-604ADF864A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82400" y="179388"/>
            <a:ext cx="430213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ktangel 28" hidden="1">
            <a:extLst>
              <a:ext uri="{FF2B5EF4-FFF2-40B4-BE49-F238E27FC236}">
                <a16:creationId xmlns:a16="http://schemas.microsoft.com/office/drawing/2014/main" id="{522CDC47-51AA-4AF6-AAA2-9527FCAD8D62}"/>
              </a:ext>
            </a:extLst>
          </p:cNvPr>
          <p:cNvSpPr/>
          <p:nvPr/>
        </p:nvSpPr>
        <p:spPr>
          <a:xfrm>
            <a:off x="10645775" y="720725"/>
            <a:ext cx="719138" cy="71913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>
              <a:latin typeface="Myriad Pro" panose="020B0503030403020204" pitchFamily="34" charset="0"/>
            </a:endParaRPr>
          </a:p>
        </p:txBody>
      </p:sp>
      <p:graphicFrame>
        <p:nvGraphicFramePr>
          <p:cNvPr id="40" name="Objekt 20" hidden="1">
            <a:extLst>
              <a:ext uri="{FF2B5EF4-FFF2-40B4-BE49-F238E27FC236}">
                <a16:creationId xmlns:a16="http://schemas.microsoft.com/office/drawing/2014/main" id="{59671C9E-A44C-490A-8A68-6AADF8A138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30" imgH="529" progId="TCLayout.ActiveDocument.1">
                  <p:embed/>
                </p:oleObj>
              </mc:Choice>
              <mc:Fallback>
                <p:oleObj name="think-cell Slide" r:id="rId7" imgW="530" imgH="529" progId="TCLayout.ActiveDocument.1">
                  <p:embed/>
                  <p:pic>
                    <p:nvPicPr>
                      <p:cNvPr id="40" name="Objekt 20" hidden="1">
                        <a:extLst>
                          <a:ext uri="{FF2B5EF4-FFF2-40B4-BE49-F238E27FC236}">
                            <a16:creationId xmlns:a16="http://schemas.microsoft.com/office/drawing/2014/main" id="{59671C9E-A44C-490A-8A68-6AADF8A1387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0000" y="631507"/>
            <a:ext cx="10757628" cy="612077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bilde 8"/>
          <p:cNvSpPr>
            <a:spLocks noGrp="1"/>
          </p:cNvSpPr>
          <p:nvPr>
            <p:ph type="pic" sz="quarter" idx="13"/>
          </p:nvPr>
        </p:nvSpPr>
        <p:spPr>
          <a:xfrm>
            <a:off x="719138" y="1996089"/>
            <a:ext cx="2340000" cy="1872000"/>
          </a:xfrm>
        </p:spPr>
        <p:txBody>
          <a:bodyPr rtlCol="0">
            <a:normAutofit/>
          </a:bodyPr>
          <a:lstStyle/>
          <a:p>
            <a:pPr lvl="0"/>
            <a:endParaRPr lang="nb-NO" noProof="0"/>
          </a:p>
        </p:txBody>
      </p:sp>
      <p:sp>
        <p:nvSpPr>
          <p:cNvPr id="10" name="Plassholder for bilde 8"/>
          <p:cNvSpPr>
            <a:spLocks noGrp="1"/>
          </p:cNvSpPr>
          <p:nvPr>
            <p:ph type="pic" sz="quarter" idx="14"/>
          </p:nvPr>
        </p:nvSpPr>
        <p:spPr>
          <a:xfrm>
            <a:off x="719138" y="4268450"/>
            <a:ext cx="2340000" cy="1872000"/>
          </a:xfrm>
        </p:spPr>
        <p:txBody>
          <a:bodyPr rtlCol="0">
            <a:normAutofit/>
          </a:bodyPr>
          <a:lstStyle/>
          <a:p>
            <a:pPr lvl="0"/>
            <a:endParaRPr lang="nb-NO" noProof="0"/>
          </a:p>
        </p:txBody>
      </p:sp>
      <p:sp>
        <p:nvSpPr>
          <p:cNvPr id="11" name="Plassholder for bilde 8"/>
          <p:cNvSpPr>
            <a:spLocks noGrp="1"/>
          </p:cNvSpPr>
          <p:nvPr>
            <p:ph type="pic" sz="quarter" idx="15"/>
          </p:nvPr>
        </p:nvSpPr>
        <p:spPr>
          <a:xfrm>
            <a:off x="3495711" y="1991789"/>
            <a:ext cx="2340000" cy="1872000"/>
          </a:xfrm>
        </p:spPr>
        <p:txBody>
          <a:bodyPr rtlCol="0">
            <a:normAutofit/>
          </a:bodyPr>
          <a:lstStyle/>
          <a:p>
            <a:pPr lvl="0"/>
            <a:endParaRPr lang="nb-NO" noProof="0"/>
          </a:p>
        </p:txBody>
      </p:sp>
      <p:sp>
        <p:nvSpPr>
          <p:cNvPr id="12" name="Plassholder for bilde 8"/>
          <p:cNvSpPr>
            <a:spLocks noGrp="1"/>
          </p:cNvSpPr>
          <p:nvPr>
            <p:ph type="pic" sz="quarter" idx="16"/>
          </p:nvPr>
        </p:nvSpPr>
        <p:spPr>
          <a:xfrm>
            <a:off x="3495749" y="4274323"/>
            <a:ext cx="2340000" cy="1872000"/>
          </a:xfrm>
        </p:spPr>
        <p:txBody>
          <a:bodyPr rtlCol="0">
            <a:normAutofit/>
          </a:bodyPr>
          <a:lstStyle/>
          <a:p>
            <a:pPr lvl="0"/>
            <a:endParaRPr lang="nb-NO" noProof="0"/>
          </a:p>
        </p:txBody>
      </p:sp>
      <p:sp>
        <p:nvSpPr>
          <p:cNvPr id="13" name="Plassholder for bilde 8"/>
          <p:cNvSpPr>
            <a:spLocks noGrp="1"/>
          </p:cNvSpPr>
          <p:nvPr>
            <p:ph type="pic" sz="quarter" idx="17"/>
          </p:nvPr>
        </p:nvSpPr>
        <p:spPr>
          <a:xfrm>
            <a:off x="6272133" y="1992243"/>
            <a:ext cx="2340000" cy="1872000"/>
          </a:xfrm>
        </p:spPr>
        <p:txBody>
          <a:bodyPr rtlCol="0">
            <a:normAutofit/>
          </a:bodyPr>
          <a:lstStyle/>
          <a:p>
            <a:pPr lvl="0"/>
            <a:endParaRPr lang="nb-NO" noProof="0"/>
          </a:p>
        </p:txBody>
      </p:sp>
      <p:sp>
        <p:nvSpPr>
          <p:cNvPr id="14" name="Plassholder for bilde 8"/>
          <p:cNvSpPr>
            <a:spLocks noGrp="1"/>
          </p:cNvSpPr>
          <p:nvPr>
            <p:ph type="pic" sz="quarter" idx="18"/>
          </p:nvPr>
        </p:nvSpPr>
        <p:spPr>
          <a:xfrm>
            <a:off x="6272133" y="4270399"/>
            <a:ext cx="2340000" cy="1872000"/>
          </a:xfrm>
        </p:spPr>
        <p:txBody>
          <a:bodyPr rtlCol="0">
            <a:normAutofit/>
          </a:bodyPr>
          <a:lstStyle/>
          <a:p>
            <a:pPr lvl="0"/>
            <a:endParaRPr lang="nb-NO" noProof="0"/>
          </a:p>
        </p:txBody>
      </p:sp>
      <p:sp>
        <p:nvSpPr>
          <p:cNvPr id="15" name="Plassholder for bilde 8"/>
          <p:cNvSpPr>
            <a:spLocks noGrp="1"/>
          </p:cNvSpPr>
          <p:nvPr>
            <p:ph type="pic" sz="quarter" idx="19"/>
          </p:nvPr>
        </p:nvSpPr>
        <p:spPr>
          <a:xfrm>
            <a:off x="9048781" y="1991336"/>
            <a:ext cx="2340000" cy="1872000"/>
          </a:xfrm>
        </p:spPr>
        <p:txBody>
          <a:bodyPr rtlCol="0">
            <a:normAutofit/>
          </a:bodyPr>
          <a:lstStyle/>
          <a:p>
            <a:pPr lvl="0"/>
            <a:endParaRPr lang="nb-NO" noProof="0"/>
          </a:p>
        </p:txBody>
      </p:sp>
      <p:sp>
        <p:nvSpPr>
          <p:cNvPr id="16" name="Plassholder for bilde 8"/>
          <p:cNvSpPr>
            <a:spLocks noGrp="1"/>
          </p:cNvSpPr>
          <p:nvPr>
            <p:ph type="pic" sz="quarter" idx="20"/>
          </p:nvPr>
        </p:nvSpPr>
        <p:spPr>
          <a:xfrm>
            <a:off x="9048971" y="4274323"/>
            <a:ext cx="2340000" cy="1872000"/>
          </a:xfrm>
        </p:spPr>
        <p:txBody>
          <a:bodyPr rtlCol="0">
            <a:normAutofit/>
          </a:bodyPr>
          <a:lstStyle/>
          <a:p>
            <a:pPr lvl="0"/>
            <a:endParaRPr lang="nb-NO" noProof="0"/>
          </a:p>
        </p:txBody>
      </p:sp>
      <p:sp>
        <p:nvSpPr>
          <p:cNvPr id="18" name="Plassholder for tekst 17"/>
          <p:cNvSpPr>
            <a:spLocks noGrp="1"/>
          </p:cNvSpPr>
          <p:nvPr>
            <p:ph type="body" sz="quarter" idx="21"/>
          </p:nvPr>
        </p:nvSpPr>
        <p:spPr>
          <a:xfrm>
            <a:off x="719138" y="1624828"/>
            <a:ext cx="2339975" cy="360000"/>
          </a:xfrm>
          <a:solidFill>
            <a:schemeClr val="accent1"/>
          </a:solidFill>
        </p:spPr>
        <p:txBody>
          <a:bodyPr lIns="108000" tIns="36000"/>
          <a:lstStyle>
            <a:lvl1pPr marL="0" indent="0">
              <a:buNone/>
              <a:defRPr sz="1800"/>
            </a:lvl1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9" name="Plassholder for tekst 17"/>
          <p:cNvSpPr>
            <a:spLocks noGrp="1"/>
          </p:cNvSpPr>
          <p:nvPr>
            <p:ph type="body" sz="quarter" idx="22"/>
          </p:nvPr>
        </p:nvSpPr>
        <p:spPr>
          <a:xfrm>
            <a:off x="3495723" y="1631336"/>
            <a:ext cx="2339975" cy="360000"/>
          </a:xfrm>
          <a:solidFill>
            <a:schemeClr val="accent1"/>
          </a:solidFill>
        </p:spPr>
        <p:txBody>
          <a:bodyPr lIns="108000" tIns="36000"/>
          <a:lstStyle>
            <a:lvl1pPr marL="0" indent="0">
              <a:buNone/>
              <a:defRPr sz="1800"/>
            </a:lvl1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20" name="Plassholder for tekst 17"/>
          <p:cNvSpPr>
            <a:spLocks noGrp="1"/>
          </p:cNvSpPr>
          <p:nvPr>
            <p:ph type="body" sz="quarter" idx="23"/>
          </p:nvPr>
        </p:nvSpPr>
        <p:spPr>
          <a:xfrm>
            <a:off x="6272133" y="1629815"/>
            <a:ext cx="2339975" cy="360000"/>
          </a:xfrm>
          <a:solidFill>
            <a:schemeClr val="accent1"/>
          </a:solidFill>
        </p:spPr>
        <p:txBody>
          <a:bodyPr lIns="108000" tIns="36000"/>
          <a:lstStyle>
            <a:lvl1pPr marL="0" indent="0">
              <a:buNone/>
              <a:defRPr sz="1800"/>
            </a:lvl1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21" name="Plassholder for tekst 17"/>
          <p:cNvSpPr>
            <a:spLocks noGrp="1"/>
          </p:cNvSpPr>
          <p:nvPr>
            <p:ph type="body" sz="quarter" idx="24"/>
          </p:nvPr>
        </p:nvSpPr>
        <p:spPr>
          <a:xfrm>
            <a:off x="9048794" y="1624828"/>
            <a:ext cx="2339975" cy="360000"/>
          </a:xfrm>
          <a:solidFill>
            <a:schemeClr val="accent1"/>
          </a:solidFill>
        </p:spPr>
        <p:txBody>
          <a:bodyPr lIns="108000" tIns="36000"/>
          <a:lstStyle>
            <a:lvl1pPr marL="0" indent="0">
              <a:buNone/>
              <a:defRPr sz="1800"/>
            </a:lvl1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22" name="Plassholder for tekst 17"/>
          <p:cNvSpPr>
            <a:spLocks noGrp="1"/>
          </p:cNvSpPr>
          <p:nvPr>
            <p:ph type="body" sz="quarter" idx="25"/>
          </p:nvPr>
        </p:nvSpPr>
        <p:spPr>
          <a:xfrm>
            <a:off x="719137" y="3930209"/>
            <a:ext cx="2339975" cy="360000"/>
          </a:xfrm>
          <a:solidFill>
            <a:schemeClr val="accent1"/>
          </a:solidFill>
        </p:spPr>
        <p:txBody>
          <a:bodyPr lIns="108000" tIns="36000"/>
          <a:lstStyle>
            <a:lvl1pPr marL="0" indent="0">
              <a:buNone/>
              <a:defRPr sz="1800"/>
            </a:lvl1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23" name="Plassholder for tekst 17"/>
          <p:cNvSpPr>
            <a:spLocks noGrp="1"/>
          </p:cNvSpPr>
          <p:nvPr>
            <p:ph type="body" sz="quarter" idx="26"/>
          </p:nvPr>
        </p:nvSpPr>
        <p:spPr>
          <a:xfrm>
            <a:off x="3495724" y="3930210"/>
            <a:ext cx="2339975" cy="360000"/>
          </a:xfrm>
          <a:solidFill>
            <a:schemeClr val="accent1"/>
          </a:solidFill>
        </p:spPr>
        <p:txBody>
          <a:bodyPr lIns="108000" tIns="36000"/>
          <a:lstStyle>
            <a:lvl1pPr marL="0" indent="0">
              <a:buNone/>
              <a:defRPr sz="1800"/>
            </a:lvl1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24" name="Plassholder for tekst 17"/>
          <p:cNvSpPr>
            <a:spLocks noGrp="1"/>
          </p:cNvSpPr>
          <p:nvPr>
            <p:ph type="body" sz="quarter" idx="27"/>
          </p:nvPr>
        </p:nvSpPr>
        <p:spPr>
          <a:xfrm>
            <a:off x="6272133" y="3928825"/>
            <a:ext cx="2339975" cy="360000"/>
          </a:xfrm>
          <a:solidFill>
            <a:schemeClr val="accent1"/>
          </a:solidFill>
        </p:spPr>
        <p:txBody>
          <a:bodyPr lIns="108000" tIns="36000"/>
          <a:lstStyle>
            <a:lvl1pPr marL="0" indent="0">
              <a:buNone/>
              <a:defRPr sz="1800"/>
            </a:lvl1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25" name="Plassholder for tekst 17"/>
          <p:cNvSpPr>
            <a:spLocks noGrp="1"/>
          </p:cNvSpPr>
          <p:nvPr>
            <p:ph type="body" sz="quarter" idx="28"/>
          </p:nvPr>
        </p:nvSpPr>
        <p:spPr>
          <a:xfrm>
            <a:off x="9048794" y="3930210"/>
            <a:ext cx="2339975" cy="360000"/>
          </a:xfrm>
          <a:solidFill>
            <a:schemeClr val="accent1"/>
          </a:solidFill>
        </p:spPr>
        <p:txBody>
          <a:bodyPr lIns="108000" tIns="36000"/>
          <a:lstStyle>
            <a:lvl1pPr marL="0" indent="0">
              <a:buNone/>
              <a:defRPr sz="1800"/>
            </a:lvl1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27" name="Plassholder for tekst 13"/>
          <p:cNvSpPr>
            <a:spLocks noGrp="1"/>
          </p:cNvSpPr>
          <p:nvPr>
            <p:ph type="body" sz="quarter" idx="29"/>
          </p:nvPr>
        </p:nvSpPr>
        <p:spPr>
          <a:xfrm>
            <a:off x="720000" y="186549"/>
            <a:ext cx="811761" cy="355276"/>
          </a:xfrm>
          <a:blipFill dpi="0" rotWithShape="1">
            <a:blip r:embed="rId8"/>
            <a:srcRect/>
            <a:stretch>
              <a:fillRect/>
            </a:stretch>
          </a:blipFill>
        </p:spPr>
        <p:txBody>
          <a:bodyPr wrap="none" tIns="36000" bIns="7200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Plassholder for dato 2">
            <a:extLst>
              <a:ext uri="{FF2B5EF4-FFF2-40B4-BE49-F238E27FC236}">
                <a16:creationId xmlns:a16="http://schemas.microsoft.com/office/drawing/2014/main" id="{9B78209B-1D16-4D93-9ECF-08E058DCC425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/>
              <a:t>25.06.2021</a:t>
            </a:r>
          </a:p>
        </p:txBody>
      </p:sp>
      <p:sp>
        <p:nvSpPr>
          <p:cNvPr id="42" name="Plassholder for bunntekst 3">
            <a:extLst>
              <a:ext uri="{FF2B5EF4-FFF2-40B4-BE49-F238E27FC236}">
                <a16:creationId xmlns:a16="http://schemas.microsoft.com/office/drawing/2014/main" id="{115E2865-6AC1-4E19-A604-95DE793DC59B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/>
              <a:t>Sett inn bunntekst her</a:t>
            </a:r>
          </a:p>
        </p:txBody>
      </p:sp>
      <p:sp>
        <p:nvSpPr>
          <p:cNvPr id="43" name="Plassholder for lysbildenummer 4">
            <a:extLst>
              <a:ext uri="{FF2B5EF4-FFF2-40B4-BE49-F238E27FC236}">
                <a16:creationId xmlns:a16="http://schemas.microsoft.com/office/drawing/2014/main" id="{6B1194A9-0F2A-4C79-8394-8C71919D101A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7C8B93-94BD-4162-9F08-20A80C616B48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44" name="TekstSylinder 20">
            <a:extLst>
              <a:ext uri="{FF2B5EF4-FFF2-40B4-BE49-F238E27FC236}">
                <a16:creationId xmlns:a16="http://schemas.microsoft.com/office/drawing/2014/main" id="{F2AF22F0-06E5-4B93-9964-0568087F342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20725" y="-339725"/>
            <a:ext cx="1593105" cy="1952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36000" tIns="36000" rIns="36000" bIns="36000">
            <a:spAutoFit/>
          </a:bodyPr>
          <a:lstStyle>
            <a:lvl1pPr>
              <a:defRPr>
                <a:solidFill>
                  <a:schemeClr val="tx1"/>
                </a:solidFill>
                <a:latin typeface="MyriadPro-Regular" panose="020B0503030403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MyriadPro-Regular" panose="020B0503030403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MyriadPro-Regular" panose="020B0503030403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MyriadPro-Regular" panose="020B0503030403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MyriadPro-Regular" panose="020B0503030403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yriadPro-Regular" panose="020B0503030403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yriadPro-Regular" panose="020B0503030403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yriadPro-Regular" panose="020B0503030403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MyriadPro-Regular" panose="020B0503030403020204" pitchFamily="34" charset="0"/>
              </a:defRPr>
            </a:lvl9pPr>
          </a:lstStyle>
          <a:p>
            <a:pPr>
              <a:defRPr/>
            </a:pPr>
            <a:r>
              <a:rPr lang="nb-NO" altLang="nb-NO" sz="800" noProof="1"/>
              <a:t>AF Gruppen</a:t>
            </a:r>
            <a:r>
              <a:rPr lang="nb-NO" altLang="nb-NO" sz="800" noProof="1">
                <a:solidFill>
                  <a:schemeClr val="accent2"/>
                </a:solidFill>
              </a:rPr>
              <a:t> |</a:t>
            </a:r>
            <a:r>
              <a:rPr lang="nb-NO" altLang="nb-NO" sz="800" noProof="1"/>
              <a:t> Konsernpresentasjon</a:t>
            </a:r>
          </a:p>
        </p:txBody>
      </p:sp>
      <p:grpSp>
        <p:nvGrpSpPr>
          <p:cNvPr id="45" name="Gruppe 21">
            <a:extLst>
              <a:ext uri="{FF2B5EF4-FFF2-40B4-BE49-F238E27FC236}">
                <a16:creationId xmlns:a16="http://schemas.microsoft.com/office/drawing/2014/main" id="{C94FD66D-DEAC-4A04-B296-8FC73A21D77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77967" y="-334963"/>
            <a:ext cx="1044575" cy="190500"/>
            <a:chOff x="2442040" y="-335454"/>
            <a:chExt cx="1043680" cy="190800"/>
          </a:xfrm>
        </p:grpSpPr>
        <p:sp>
          <p:nvSpPr>
            <p:cNvPr id="46" name="Rektangel 45">
              <a:extLst>
                <a:ext uri="{FF2B5EF4-FFF2-40B4-BE49-F238E27FC236}">
                  <a16:creationId xmlns:a16="http://schemas.microsoft.com/office/drawing/2014/main" id="{C4D18E72-2BF9-4F43-A9CF-EE9F32C81656}"/>
                </a:ext>
              </a:extLst>
            </p:cNvPr>
            <p:cNvSpPr/>
            <p:nvPr/>
          </p:nvSpPr>
          <p:spPr>
            <a:xfrm>
              <a:off x="2442040" y="-335454"/>
              <a:ext cx="1043680" cy="19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b-NO"/>
            </a:p>
          </p:txBody>
        </p:sp>
        <p:grpSp>
          <p:nvGrpSpPr>
            <p:cNvPr id="47" name="Gruppe 23">
              <a:extLst>
                <a:ext uri="{FF2B5EF4-FFF2-40B4-BE49-F238E27FC236}">
                  <a16:creationId xmlns:a16="http://schemas.microsoft.com/office/drawing/2014/main" id="{683AD07F-14B5-41F6-A376-D195CB80843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506820" y="-296561"/>
              <a:ext cx="914120" cy="108000"/>
              <a:chOff x="2442040" y="-296561"/>
              <a:chExt cx="914120" cy="108000"/>
            </a:xfrm>
          </p:grpSpPr>
          <p:sp>
            <p:nvSpPr>
              <p:cNvPr id="48" name="Rektangel 47">
                <a:extLst>
                  <a:ext uri="{FF2B5EF4-FFF2-40B4-BE49-F238E27FC236}">
                    <a16:creationId xmlns:a16="http://schemas.microsoft.com/office/drawing/2014/main" id="{F5189C80-F555-4B0A-B49D-92DFF0855DC7}"/>
                  </a:ext>
                </a:extLst>
              </p:cNvPr>
              <p:cNvSpPr/>
              <p:nvPr/>
            </p:nvSpPr>
            <p:spPr>
              <a:xfrm>
                <a:off x="2442292" y="-297294"/>
                <a:ext cx="107857" cy="10812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/>
              </a:p>
            </p:txBody>
          </p:sp>
          <p:sp>
            <p:nvSpPr>
              <p:cNvPr id="49" name="Rektangel 48">
                <a:extLst>
                  <a:ext uri="{FF2B5EF4-FFF2-40B4-BE49-F238E27FC236}">
                    <a16:creationId xmlns:a16="http://schemas.microsoft.com/office/drawing/2014/main" id="{B83399BC-3F84-4ECD-93F6-F8BC439D079E}"/>
                  </a:ext>
                </a:extLst>
              </p:cNvPr>
              <p:cNvSpPr/>
              <p:nvPr/>
            </p:nvSpPr>
            <p:spPr>
              <a:xfrm>
                <a:off x="2764278" y="-297294"/>
                <a:ext cx="107857" cy="1081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/>
              </a:p>
            </p:txBody>
          </p:sp>
          <p:sp>
            <p:nvSpPr>
              <p:cNvPr id="50" name="Rektangel 49">
                <a:extLst>
                  <a:ext uri="{FF2B5EF4-FFF2-40B4-BE49-F238E27FC236}">
                    <a16:creationId xmlns:a16="http://schemas.microsoft.com/office/drawing/2014/main" id="{02BBE907-9C14-47A5-8587-8C27B6C8F8BA}"/>
                  </a:ext>
                </a:extLst>
              </p:cNvPr>
              <p:cNvSpPr/>
              <p:nvPr/>
            </p:nvSpPr>
            <p:spPr>
              <a:xfrm>
                <a:off x="3248051" y="-297294"/>
                <a:ext cx="107857" cy="10812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/>
              </a:p>
            </p:txBody>
          </p:sp>
          <p:sp>
            <p:nvSpPr>
              <p:cNvPr id="51" name="Rektangel 50">
                <a:extLst>
                  <a:ext uri="{FF2B5EF4-FFF2-40B4-BE49-F238E27FC236}">
                    <a16:creationId xmlns:a16="http://schemas.microsoft.com/office/drawing/2014/main" id="{E2157FF1-01EA-42F6-BD6A-88128B35EEDD}"/>
                  </a:ext>
                </a:extLst>
              </p:cNvPr>
              <p:cNvSpPr/>
              <p:nvPr/>
            </p:nvSpPr>
            <p:spPr>
              <a:xfrm>
                <a:off x="2604078" y="-297294"/>
                <a:ext cx="107857" cy="10812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/>
              </a:p>
            </p:txBody>
          </p:sp>
          <p:sp>
            <p:nvSpPr>
              <p:cNvPr id="52" name="Rektangel 51">
                <a:extLst>
                  <a:ext uri="{FF2B5EF4-FFF2-40B4-BE49-F238E27FC236}">
                    <a16:creationId xmlns:a16="http://schemas.microsoft.com/office/drawing/2014/main" id="{31704665-F2C3-467B-82DD-B364A872E176}"/>
                  </a:ext>
                </a:extLst>
              </p:cNvPr>
              <p:cNvSpPr/>
              <p:nvPr/>
            </p:nvSpPr>
            <p:spPr>
              <a:xfrm>
                <a:off x="2926064" y="-297294"/>
                <a:ext cx="107857" cy="10812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/>
              </a:p>
            </p:txBody>
          </p:sp>
          <p:sp>
            <p:nvSpPr>
              <p:cNvPr id="53" name="Rektangel 52">
                <a:extLst>
                  <a:ext uri="{FF2B5EF4-FFF2-40B4-BE49-F238E27FC236}">
                    <a16:creationId xmlns:a16="http://schemas.microsoft.com/office/drawing/2014/main" id="{0BB350A3-DC4C-460D-B471-8B241BDFDD0A}"/>
                  </a:ext>
                </a:extLst>
              </p:cNvPr>
              <p:cNvSpPr/>
              <p:nvPr/>
            </p:nvSpPr>
            <p:spPr>
              <a:xfrm>
                <a:off x="3086264" y="-297294"/>
                <a:ext cx="107857" cy="10812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nb-NO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93305532"/>
      </p:ext>
    </p:extLst>
  </p:cSld>
  <p:clrMapOvr>
    <a:masterClrMapping/>
  </p:clrMapOvr>
  <p:transition spd="med"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4793A5B-E7B8-4C99-A418-8F8658427EA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E38E4301-9788-164D-9664-3D256996C6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" y="-2"/>
            <a:ext cx="4619624" cy="3438000"/>
          </a:xfrm>
          <a:solidFill>
            <a:schemeClr val="accent1"/>
          </a:solidFill>
        </p:spPr>
        <p:txBody>
          <a:bodyPr lIns="720000" tIns="720000" rIns="540000" bIns="360000" anchor="b" anchorCtr="0">
            <a:noAutofit/>
          </a:bodyPr>
          <a:lstStyle>
            <a:lvl1pPr algn="l">
              <a:lnSpc>
                <a:spcPct val="90000"/>
              </a:lnSpc>
              <a:defRPr sz="3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D6995328-6892-8E49-8951-D46A5D939EC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1" y="3428999"/>
            <a:ext cx="4619625" cy="1186751"/>
          </a:xfrm>
          <a:solidFill>
            <a:schemeClr val="accent1"/>
          </a:solidFill>
        </p:spPr>
        <p:txBody>
          <a:bodyPr lIns="720000" rIns="72000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24D46953-51B1-2642-9E76-C78C4D2A5E20}"/>
              </a:ext>
            </a:extLst>
          </p:cNvPr>
          <p:cNvGrpSpPr/>
          <p:nvPr/>
        </p:nvGrpSpPr>
        <p:grpSpPr>
          <a:xfrm>
            <a:off x="2442040" y="-335454"/>
            <a:ext cx="1043680" cy="190800"/>
            <a:chOff x="2442040" y="-335454"/>
            <a:chExt cx="1043680" cy="190800"/>
          </a:xfrm>
        </p:grpSpPr>
        <p:sp>
          <p:nvSpPr>
            <p:cNvPr id="11" name="Rektangel 10">
              <a:extLst>
                <a:ext uri="{FF2B5EF4-FFF2-40B4-BE49-F238E27FC236}">
                  <a16:creationId xmlns:a16="http://schemas.microsoft.com/office/drawing/2014/main" id="{F09627A4-74A0-8C45-9058-B335B33AFAFD}"/>
                </a:ext>
              </a:extLst>
            </p:cNvPr>
            <p:cNvSpPr/>
            <p:nvPr/>
          </p:nvSpPr>
          <p:spPr>
            <a:xfrm>
              <a:off x="2442040" y="-335454"/>
              <a:ext cx="1043680" cy="19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grpSp>
          <p:nvGrpSpPr>
            <p:cNvPr id="12" name="Gruppe 11">
              <a:extLst>
                <a:ext uri="{FF2B5EF4-FFF2-40B4-BE49-F238E27FC236}">
                  <a16:creationId xmlns:a16="http://schemas.microsoft.com/office/drawing/2014/main" id="{BC368A8A-CF7D-B143-99BD-836D6370F545}"/>
                </a:ext>
              </a:extLst>
            </p:cNvPr>
            <p:cNvGrpSpPr/>
            <p:nvPr/>
          </p:nvGrpSpPr>
          <p:grpSpPr>
            <a:xfrm>
              <a:off x="2506820" y="-296561"/>
              <a:ext cx="914120" cy="108000"/>
              <a:chOff x="2442040" y="-296561"/>
              <a:chExt cx="914120" cy="108000"/>
            </a:xfrm>
          </p:grpSpPr>
          <p:sp>
            <p:nvSpPr>
              <p:cNvPr id="13" name="Rektangel 12">
                <a:extLst>
                  <a:ext uri="{FF2B5EF4-FFF2-40B4-BE49-F238E27FC236}">
                    <a16:creationId xmlns:a16="http://schemas.microsoft.com/office/drawing/2014/main" id="{B2AB4584-DF32-2E4D-A0C2-BCDA17515661}"/>
                  </a:ext>
                </a:extLst>
              </p:cNvPr>
              <p:cNvSpPr/>
              <p:nvPr/>
            </p:nvSpPr>
            <p:spPr>
              <a:xfrm>
                <a:off x="2442040" y="-296561"/>
                <a:ext cx="108000" cy="108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" name="Rektangel 13">
                <a:extLst>
                  <a:ext uri="{FF2B5EF4-FFF2-40B4-BE49-F238E27FC236}">
                    <a16:creationId xmlns:a16="http://schemas.microsoft.com/office/drawing/2014/main" id="{307AD813-2F95-B145-8866-AB893EE32AAF}"/>
                  </a:ext>
                </a:extLst>
              </p:cNvPr>
              <p:cNvSpPr/>
              <p:nvPr/>
            </p:nvSpPr>
            <p:spPr>
              <a:xfrm>
                <a:off x="2764488" y="-296561"/>
                <a:ext cx="108000" cy="108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" name="Rektangel 14">
                <a:extLst>
                  <a:ext uri="{FF2B5EF4-FFF2-40B4-BE49-F238E27FC236}">
                    <a16:creationId xmlns:a16="http://schemas.microsoft.com/office/drawing/2014/main" id="{0D9CDADD-E0FB-CE40-9647-33E2462E729E}"/>
                  </a:ext>
                </a:extLst>
              </p:cNvPr>
              <p:cNvSpPr/>
              <p:nvPr/>
            </p:nvSpPr>
            <p:spPr>
              <a:xfrm>
                <a:off x="3248160" y="-296561"/>
                <a:ext cx="108000" cy="108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" name="Rektangel 15">
                <a:extLst>
                  <a:ext uri="{FF2B5EF4-FFF2-40B4-BE49-F238E27FC236}">
                    <a16:creationId xmlns:a16="http://schemas.microsoft.com/office/drawing/2014/main" id="{52CC5802-59F2-8A4C-B373-F82F84A464EA}"/>
                  </a:ext>
                </a:extLst>
              </p:cNvPr>
              <p:cNvSpPr/>
              <p:nvPr/>
            </p:nvSpPr>
            <p:spPr>
              <a:xfrm>
                <a:off x="2603264" y="-296561"/>
                <a:ext cx="108000" cy="1080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" name="Rektangel 18">
                <a:extLst>
                  <a:ext uri="{FF2B5EF4-FFF2-40B4-BE49-F238E27FC236}">
                    <a16:creationId xmlns:a16="http://schemas.microsoft.com/office/drawing/2014/main" id="{F94FA0C1-68E6-464E-AC09-2AE1AEE87E0B}"/>
                  </a:ext>
                </a:extLst>
              </p:cNvPr>
              <p:cNvSpPr/>
              <p:nvPr/>
            </p:nvSpPr>
            <p:spPr>
              <a:xfrm>
                <a:off x="2925712" y="-296561"/>
                <a:ext cx="108000" cy="108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" name="Rektangel 19">
                <a:extLst>
                  <a:ext uri="{FF2B5EF4-FFF2-40B4-BE49-F238E27FC236}">
                    <a16:creationId xmlns:a16="http://schemas.microsoft.com/office/drawing/2014/main" id="{EF895D5F-CFC3-1F42-8E10-31C2985F98C1}"/>
                  </a:ext>
                </a:extLst>
              </p:cNvPr>
              <p:cNvSpPr/>
              <p:nvPr/>
            </p:nvSpPr>
            <p:spPr>
              <a:xfrm>
                <a:off x="3086936" y="-296561"/>
                <a:ext cx="108000" cy="108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</p:grpSp>
      </p:grp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D45AB863-1037-4F33-941F-BD1A4CF996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69324" y="0"/>
            <a:ext cx="1622675" cy="161999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2" t="33271" r="33444" b="-3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67499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5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 + teks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C1BC2591-2BC3-4EED-AEE3-DF0B844DAA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1903"/>
          <a:stretch/>
        </p:blipFill>
        <p:spPr>
          <a:xfrm>
            <a:off x="1" y="0"/>
            <a:ext cx="4664364" cy="6858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39725" y="274639"/>
            <a:ext cx="6560456" cy="1143000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943872" y="1628776"/>
            <a:ext cx="6536928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9" name="Graphic 2">
            <a:extLst>
              <a:ext uri="{FF2B5EF4-FFF2-40B4-BE49-F238E27FC236}">
                <a16:creationId xmlns:a16="http://schemas.microsoft.com/office/drawing/2014/main" id="{E0AABCCC-F09F-4BD7-916F-0888A482EA9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0074" y="6343650"/>
            <a:ext cx="1022492" cy="297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4938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alternativ g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F5C306A-CAD5-415E-81D7-6C8639C6B0D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619624" y="0"/>
            <a:ext cx="7572375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7FE123C0-69B0-E642-86BE-36980F897039}"/>
              </a:ext>
            </a:extLst>
          </p:cNvPr>
          <p:cNvSpPr txBox="1"/>
          <p:nvPr userDrawn="1"/>
        </p:nvSpPr>
        <p:spPr>
          <a:xfrm>
            <a:off x="719998" y="-340468"/>
            <a:ext cx="1668818" cy="180425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lang="nb-NO" sz="700" noProof="1">
                <a:latin typeface="Arial" panose="020B0604020202020204" pitchFamily="34" charset="0"/>
                <a:cs typeface="Arial" panose="020B0604020202020204" pitchFamily="34" charset="0"/>
              </a:rPr>
              <a:t>AF Gruppen</a:t>
            </a:r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24D46953-51B1-2642-9E76-C78C4D2A5E20}"/>
              </a:ext>
            </a:extLst>
          </p:cNvPr>
          <p:cNvGrpSpPr/>
          <p:nvPr/>
        </p:nvGrpSpPr>
        <p:grpSpPr>
          <a:xfrm>
            <a:off x="2442040" y="-335454"/>
            <a:ext cx="1043680" cy="190800"/>
            <a:chOff x="2442040" y="-335454"/>
            <a:chExt cx="1043680" cy="190800"/>
          </a:xfrm>
        </p:grpSpPr>
        <p:sp>
          <p:nvSpPr>
            <p:cNvPr id="11" name="Rektangel 10">
              <a:extLst>
                <a:ext uri="{FF2B5EF4-FFF2-40B4-BE49-F238E27FC236}">
                  <a16:creationId xmlns:a16="http://schemas.microsoft.com/office/drawing/2014/main" id="{F09627A4-74A0-8C45-9058-B335B33AFAFD}"/>
                </a:ext>
              </a:extLst>
            </p:cNvPr>
            <p:cNvSpPr/>
            <p:nvPr/>
          </p:nvSpPr>
          <p:spPr>
            <a:xfrm>
              <a:off x="2442040" y="-335454"/>
              <a:ext cx="1043680" cy="19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grpSp>
          <p:nvGrpSpPr>
            <p:cNvPr id="12" name="Gruppe 11">
              <a:extLst>
                <a:ext uri="{FF2B5EF4-FFF2-40B4-BE49-F238E27FC236}">
                  <a16:creationId xmlns:a16="http://schemas.microsoft.com/office/drawing/2014/main" id="{BC368A8A-CF7D-B143-99BD-836D6370F545}"/>
                </a:ext>
              </a:extLst>
            </p:cNvPr>
            <p:cNvGrpSpPr/>
            <p:nvPr/>
          </p:nvGrpSpPr>
          <p:grpSpPr>
            <a:xfrm>
              <a:off x="2506820" y="-296561"/>
              <a:ext cx="914120" cy="108000"/>
              <a:chOff x="2442040" y="-296561"/>
              <a:chExt cx="914120" cy="108000"/>
            </a:xfrm>
          </p:grpSpPr>
          <p:sp>
            <p:nvSpPr>
              <p:cNvPr id="13" name="Rektangel 12">
                <a:extLst>
                  <a:ext uri="{FF2B5EF4-FFF2-40B4-BE49-F238E27FC236}">
                    <a16:creationId xmlns:a16="http://schemas.microsoft.com/office/drawing/2014/main" id="{B2AB4584-DF32-2E4D-A0C2-BCDA17515661}"/>
                  </a:ext>
                </a:extLst>
              </p:cNvPr>
              <p:cNvSpPr/>
              <p:nvPr/>
            </p:nvSpPr>
            <p:spPr>
              <a:xfrm>
                <a:off x="2442040" y="-296561"/>
                <a:ext cx="108000" cy="108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" name="Rektangel 13">
                <a:extLst>
                  <a:ext uri="{FF2B5EF4-FFF2-40B4-BE49-F238E27FC236}">
                    <a16:creationId xmlns:a16="http://schemas.microsoft.com/office/drawing/2014/main" id="{307AD813-2F95-B145-8866-AB893EE32AAF}"/>
                  </a:ext>
                </a:extLst>
              </p:cNvPr>
              <p:cNvSpPr/>
              <p:nvPr/>
            </p:nvSpPr>
            <p:spPr>
              <a:xfrm>
                <a:off x="2764488" y="-296561"/>
                <a:ext cx="108000" cy="108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" name="Rektangel 14">
                <a:extLst>
                  <a:ext uri="{FF2B5EF4-FFF2-40B4-BE49-F238E27FC236}">
                    <a16:creationId xmlns:a16="http://schemas.microsoft.com/office/drawing/2014/main" id="{0D9CDADD-E0FB-CE40-9647-33E2462E729E}"/>
                  </a:ext>
                </a:extLst>
              </p:cNvPr>
              <p:cNvSpPr/>
              <p:nvPr/>
            </p:nvSpPr>
            <p:spPr>
              <a:xfrm>
                <a:off x="3248160" y="-296561"/>
                <a:ext cx="108000" cy="108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" name="Rektangel 15">
                <a:extLst>
                  <a:ext uri="{FF2B5EF4-FFF2-40B4-BE49-F238E27FC236}">
                    <a16:creationId xmlns:a16="http://schemas.microsoft.com/office/drawing/2014/main" id="{52CC5802-59F2-8A4C-B373-F82F84A464EA}"/>
                  </a:ext>
                </a:extLst>
              </p:cNvPr>
              <p:cNvSpPr/>
              <p:nvPr/>
            </p:nvSpPr>
            <p:spPr>
              <a:xfrm>
                <a:off x="2603264" y="-296561"/>
                <a:ext cx="108000" cy="1080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" name="Rektangel 18">
                <a:extLst>
                  <a:ext uri="{FF2B5EF4-FFF2-40B4-BE49-F238E27FC236}">
                    <a16:creationId xmlns:a16="http://schemas.microsoft.com/office/drawing/2014/main" id="{F94FA0C1-68E6-464E-AC09-2AE1AEE87E0B}"/>
                  </a:ext>
                </a:extLst>
              </p:cNvPr>
              <p:cNvSpPr/>
              <p:nvPr/>
            </p:nvSpPr>
            <p:spPr>
              <a:xfrm>
                <a:off x="2925712" y="-296561"/>
                <a:ext cx="108000" cy="108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" name="Rektangel 19">
                <a:extLst>
                  <a:ext uri="{FF2B5EF4-FFF2-40B4-BE49-F238E27FC236}">
                    <a16:creationId xmlns:a16="http://schemas.microsoft.com/office/drawing/2014/main" id="{EF895D5F-CFC3-1F42-8E10-31C2985F98C1}"/>
                  </a:ext>
                </a:extLst>
              </p:cNvPr>
              <p:cNvSpPr/>
              <p:nvPr/>
            </p:nvSpPr>
            <p:spPr>
              <a:xfrm>
                <a:off x="3086936" y="-296561"/>
                <a:ext cx="108000" cy="108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</p:grpSp>
      </p:grpSp>
      <p:sp>
        <p:nvSpPr>
          <p:cNvPr id="26" name="Tittel 1">
            <a:extLst>
              <a:ext uri="{FF2B5EF4-FFF2-40B4-BE49-F238E27FC236}">
                <a16:creationId xmlns:a16="http://schemas.microsoft.com/office/drawing/2014/main" id="{9363A00E-1349-4947-AA83-0BB76A66A8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" y="-2"/>
            <a:ext cx="4619624" cy="3438000"/>
          </a:xfrm>
          <a:noFill/>
        </p:spPr>
        <p:txBody>
          <a:bodyPr lIns="720000" tIns="720000" rIns="540000" bIns="360000" anchor="b" anchorCtr="0">
            <a:noAutofit/>
          </a:bodyPr>
          <a:lstStyle>
            <a:lvl1pPr algn="l">
              <a:lnSpc>
                <a:spcPct val="90000"/>
              </a:lnSpc>
              <a:defRPr sz="3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27" name="Undertittel 2">
            <a:extLst>
              <a:ext uri="{FF2B5EF4-FFF2-40B4-BE49-F238E27FC236}">
                <a16:creationId xmlns:a16="http://schemas.microsoft.com/office/drawing/2014/main" id="{48443F58-F050-4D81-BA7C-1187E2165C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1" y="3429000"/>
            <a:ext cx="4619625" cy="3429000"/>
          </a:xfrm>
        </p:spPr>
        <p:txBody>
          <a:bodyPr lIns="720000" rIns="72000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30FCD4D0-19E7-4677-96E8-BA348B6AAF2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69324" y="0"/>
            <a:ext cx="1622675" cy="161999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2" t="33271" r="33444" b="-3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51185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54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alternativ gr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F5C306A-CAD5-415E-81D7-6C8639C6B0D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619624" y="0"/>
            <a:ext cx="7572375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7FE123C0-69B0-E642-86BE-36980F897039}"/>
              </a:ext>
            </a:extLst>
          </p:cNvPr>
          <p:cNvSpPr txBox="1"/>
          <p:nvPr/>
        </p:nvSpPr>
        <p:spPr>
          <a:xfrm>
            <a:off x="719998" y="-340468"/>
            <a:ext cx="1668818" cy="180425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lang="nb-NO" sz="700" noProof="1">
                <a:latin typeface="Arial" panose="020B0604020202020204" pitchFamily="34" charset="0"/>
                <a:cs typeface="Arial" panose="020B0604020202020204" pitchFamily="34" charset="0"/>
              </a:rPr>
              <a:t>AF Gruppen</a:t>
            </a:r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24D46953-51B1-2642-9E76-C78C4D2A5E20}"/>
              </a:ext>
            </a:extLst>
          </p:cNvPr>
          <p:cNvGrpSpPr/>
          <p:nvPr/>
        </p:nvGrpSpPr>
        <p:grpSpPr>
          <a:xfrm>
            <a:off x="2442040" y="-335454"/>
            <a:ext cx="1043680" cy="190800"/>
            <a:chOff x="2442040" y="-335454"/>
            <a:chExt cx="1043680" cy="190800"/>
          </a:xfrm>
        </p:grpSpPr>
        <p:sp>
          <p:nvSpPr>
            <p:cNvPr id="11" name="Rektangel 10">
              <a:extLst>
                <a:ext uri="{FF2B5EF4-FFF2-40B4-BE49-F238E27FC236}">
                  <a16:creationId xmlns:a16="http://schemas.microsoft.com/office/drawing/2014/main" id="{F09627A4-74A0-8C45-9058-B335B33AFAFD}"/>
                </a:ext>
              </a:extLst>
            </p:cNvPr>
            <p:cNvSpPr/>
            <p:nvPr/>
          </p:nvSpPr>
          <p:spPr>
            <a:xfrm>
              <a:off x="2442040" y="-335454"/>
              <a:ext cx="1043680" cy="19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grpSp>
          <p:nvGrpSpPr>
            <p:cNvPr id="12" name="Gruppe 11">
              <a:extLst>
                <a:ext uri="{FF2B5EF4-FFF2-40B4-BE49-F238E27FC236}">
                  <a16:creationId xmlns:a16="http://schemas.microsoft.com/office/drawing/2014/main" id="{BC368A8A-CF7D-B143-99BD-836D6370F545}"/>
                </a:ext>
              </a:extLst>
            </p:cNvPr>
            <p:cNvGrpSpPr/>
            <p:nvPr/>
          </p:nvGrpSpPr>
          <p:grpSpPr>
            <a:xfrm>
              <a:off x="2506820" y="-296561"/>
              <a:ext cx="914120" cy="108000"/>
              <a:chOff x="2442040" y="-296561"/>
              <a:chExt cx="914120" cy="108000"/>
            </a:xfrm>
          </p:grpSpPr>
          <p:sp>
            <p:nvSpPr>
              <p:cNvPr id="13" name="Rektangel 12">
                <a:extLst>
                  <a:ext uri="{FF2B5EF4-FFF2-40B4-BE49-F238E27FC236}">
                    <a16:creationId xmlns:a16="http://schemas.microsoft.com/office/drawing/2014/main" id="{B2AB4584-DF32-2E4D-A0C2-BCDA17515661}"/>
                  </a:ext>
                </a:extLst>
              </p:cNvPr>
              <p:cNvSpPr/>
              <p:nvPr/>
            </p:nvSpPr>
            <p:spPr>
              <a:xfrm>
                <a:off x="2442040" y="-296561"/>
                <a:ext cx="108000" cy="108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" name="Rektangel 13">
                <a:extLst>
                  <a:ext uri="{FF2B5EF4-FFF2-40B4-BE49-F238E27FC236}">
                    <a16:creationId xmlns:a16="http://schemas.microsoft.com/office/drawing/2014/main" id="{307AD813-2F95-B145-8866-AB893EE32AAF}"/>
                  </a:ext>
                </a:extLst>
              </p:cNvPr>
              <p:cNvSpPr/>
              <p:nvPr/>
            </p:nvSpPr>
            <p:spPr>
              <a:xfrm>
                <a:off x="2764488" y="-296561"/>
                <a:ext cx="108000" cy="108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" name="Rektangel 14">
                <a:extLst>
                  <a:ext uri="{FF2B5EF4-FFF2-40B4-BE49-F238E27FC236}">
                    <a16:creationId xmlns:a16="http://schemas.microsoft.com/office/drawing/2014/main" id="{0D9CDADD-E0FB-CE40-9647-33E2462E729E}"/>
                  </a:ext>
                </a:extLst>
              </p:cNvPr>
              <p:cNvSpPr/>
              <p:nvPr/>
            </p:nvSpPr>
            <p:spPr>
              <a:xfrm>
                <a:off x="3248160" y="-296561"/>
                <a:ext cx="108000" cy="108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" name="Rektangel 15">
                <a:extLst>
                  <a:ext uri="{FF2B5EF4-FFF2-40B4-BE49-F238E27FC236}">
                    <a16:creationId xmlns:a16="http://schemas.microsoft.com/office/drawing/2014/main" id="{52CC5802-59F2-8A4C-B373-F82F84A464EA}"/>
                  </a:ext>
                </a:extLst>
              </p:cNvPr>
              <p:cNvSpPr/>
              <p:nvPr/>
            </p:nvSpPr>
            <p:spPr>
              <a:xfrm>
                <a:off x="2603264" y="-296561"/>
                <a:ext cx="108000" cy="1080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" name="Rektangel 18">
                <a:extLst>
                  <a:ext uri="{FF2B5EF4-FFF2-40B4-BE49-F238E27FC236}">
                    <a16:creationId xmlns:a16="http://schemas.microsoft.com/office/drawing/2014/main" id="{F94FA0C1-68E6-464E-AC09-2AE1AEE87E0B}"/>
                  </a:ext>
                </a:extLst>
              </p:cNvPr>
              <p:cNvSpPr/>
              <p:nvPr/>
            </p:nvSpPr>
            <p:spPr>
              <a:xfrm>
                <a:off x="2925712" y="-296561"/>
                <a:ext cx="108000" cy="108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" name="Rektangel 19">
                <a:extLst>
                  <a:ext uri="{FF2B5EF4-FFF2-40B4-BE49-F238E27FC236}">
                    <a16:creationId xmlns:a16="http://schemas.microsoft.com/office/drawing/2014/main" id="{EF895D5F-CFC3-1F42-8E10-31C2985F98C1}"/>
                  </a:ext>
                </a:extLst>
              </p:cNvPr>
              <p:cNvSpPr/>
              <p:nvPr/>
            </p:nvSpPr>
            <p:spPr>
              <a:xfrm>
                <a:off x="3086936" y="-296561"/>
                <a:ext cx="108000" cy="108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</p:grpSp>
      </p:grpSp>
      <p:sp>
        <p:nvSpPr>
          <p:cNvPr id="26" name="Tittel 1">
            <a:extLst>
              <a:ext uri="{FF2B5EF4-FFF2-40B4-BE49-F238E27FC236}">
                <a16:creationId xmlns:a16="http://schemas.microsoft.com/office/drawing/2014/main" id="{9363A00E-1349-4947-AA83-0BB76A66A8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" y="-2"/>
            <a:ext cx="4619624" cy="3438000"/>
          </a:xfrm>
          <a:solidFill>
            <a:schemeClr val="tx2"/>
          </a:solidFill>
        </p:spPr>
        <p:txBody>
          <a:bodyPr lIns="720000" tIns="720000" rIns="540000" bIns="360000" anchor="b" anchorCtr="0">
            <a:noAutofit/>
          </a:bodyPr>
          <a:lstStyle>
            <a:lvl1pPr algn="l">
              <a:lnSpc>
                <a:spcPct val="9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27" name="Undertittel 2">
            <a:extLst>
              <a:ext uri="{FF2B5EF4-FFF2-40B4-BE49-F238E27FC236}">
                <a16:creationId xmlns:a16="http://schemas.microsoft.com/office/drawing/2014/main" id="{48443F58-F050-4D81-BA7C-1187E2165C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1" y="3429000"/>
            <a:ext cx="4619625" cy="3429000"/>
          </a:xfrm>
          <a:solidFill>
            <a:schemeClr val="tx2"/>
          </a:solidFill>
        </p:spPr>
        <p:txBody>
          <a:bodyPr lIns="720000" rIns="72000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D218A4F1-B622-4654-BDDD-23C7587842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69324" y="0"/>
            <a:ext cx="1622675" cy="161999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2" t="33271" r="33444" b="-3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40855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54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8198578-1CC1-9B42-A782-25F216402B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1932563"/>
            <a:ext cx="10763250" cy="420544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F9651C1E-8EFA-5A44-9E4A-5B5B5B5BFB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04CAD5E9-1DF4-7A46-AB26-B7E752C3B0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81157803-BFB9-5448-8FED-3C32C96D20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3" name="Plassholder for tekst 13">
            <a:extLst>
              <a:ext uri="{FF2B5EF4-FFF2-40B4-BE49-F238E27FC236}">
                <a16:creationId xmlns:a16="http://schemas.microsoft.com/office/drawing/2014/main" id="{5BDEC490-5235-9843-9E24-EB55EF35FF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58CC506-3884-4A45-8D33-86DCEA595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631507"/>
            <a:ext cx="10757628" cy="1019278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6646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4">
          <p15:clr>
            <a:srgbClr val="FBAE40"/>
          </p15:clr>
        </p15:guide>
        <p15:guide id="2" orient="horz" pos="340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gr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BA185CE-0C4D-BA4C-AD56-EC7A01C6D2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631507"/>
            <a:ext cx="10757628" cy="1019278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8198578-1CC1-9B42-A782-25F216402B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1932563"/>
            <a:ext cx="10763250" cy="42054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F9651C1E-8EFA-5A44-9E4A-5B5B5B5BFB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04CAD5E9-1DF4-7A46-AB26-B7E752C3B0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nb-NO"/>
              <a:t>AF Presentasjonsmal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81157803-BFB9-5448-8FED-3C32C96D20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tekst 13">
            <a:extLst>
              <a:ext uri="{FF2B5EF4-FFF2-40B4-BE49-F238E27FC236}">
                <a16:creationId xmlns:a16="http://schemas.microsoft.com/office/drawing/2014/main" id="{6DE9EF62-0349-414F-B572-7B78069149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652763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4">
          <p15:clr>
            <a:srgbClr val="FBAE40"/>
          </p15:clr>
        </p15:guide>
        <p15:guide id="2" orient="horz" pos="340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C929E29-018C-5F49-AFD1-E1D4A5301A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998" y="719138"/>
            <a:ext cx="7704156" cy="2709862"/>
          </a:xfrm>
        </p:spPr>
        <p:txBody>
          <a:bodyPr bIns="180000" anchor="b" anchorCtr="0">
            <a:noAutofit/>
          </a:bodyPr>
          <a:lstStyle>
            <a:lvl1pPr>
              <a:lnSpc>
                <a:spcPct val="90000"/>
              </a:lnSpc>
              <a:defRPr sz="5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C2ADE2A-446E-F44D-8B0C-69B38F62E15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998" y="3741905"/>
            <a:ext cx="7704156" cy="234774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5613402-9B9E-8B49-8A1C-573C429B4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F9809E6-B518-3F4B-B80A-00A1D6FE6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F6EC21E-B709-FC48-9BBF-7B55CC7A9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58ACA20-2938-4BF7-926B-FE00C391E542}"/>
              </a:ext>
            </a:extLst>
          </p:cNvPr>
          <p:cNvGrpSpPr/>
          <p:nvPr userDrawn="1"/>
        </p:nvGrpSpPr>
        <p:grpSpPr>
          <a:xfrm>
            <a:off x="11583006" y="179995"/>
            <a:ext cx="428994" cy="428994"/>
            <a:chOff x="11583006" y="179995"/>
            <a:chExt cx="428994" cy="428994"/>
          </a:xfrm>
        </p:grpSpPr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A50E0565-9EB5-B543-9BD1-C0D47B94FC7E}"/>
                </a:ext>
              </a:extLst>
            </p:cNvPr>
            <p:cNvSpPr/>
            <p:nvPr/>
          </p:nvSpPr>
          <p:spPr>
            <a:xfrm>
              <a:off x="11583006" y="179995"/>
              <a:ext cx="428994" cy="42899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1" name="Grafikk 8">
              <a:extLst>
                <a:ext uri="{FF2B5EF4-FFF2-40B4-BE49-F238E27FC236}">
                  <a16:creationId xmlns:a16="http://schemas.microsoft.com/office/drawing/2014/main" id="{9DD924FC-2F34-4DB6-8351-73E79ACD2F3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583006" y="179995"/>
              <a:ext cx="428994" cy="4289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32562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loverskrift lit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BA2BBCF1-6F0F-8A4F-A227-ABF431951B90}"/>
              </a:ext>
            </a:extLst>
          </p:cNvPr>
          <p:cNvSpPr/>
          <p:nvPr/>
        </p:nvSpPr>
        <p:spPr>
          <a:xfrm>
            <a:off x="0" y="0"/>
            <a:ext cx="46152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+mn-lt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C929E29-018C-5F49-AFD1-E1D4A5301A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40350" y="719138"/>
            <a:ext cx="6137275" cy="2709862"/>
          </a:xfrm>
        </p:spPr>
        <p:txBody>
          <a:bodyPr rIns="360000" bIns="180000" anchor="b" anchorCtr="0">
            <a:noAutofit/>
          </a:bodyPr>
          <a:lstStyle>
            <a:lvl1pPr>
              <a:lnSpc>
                <a:spcPct val="90000"/>
              </a:lnSpc>
              <a:defRPr sz="5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C2ADE2A-446E-F44D-8B0C-69B38F62E15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340350" y="3741905"/>
            <a:ext cx="6137275" cy="234774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5613402-9B9E-8B49-8A1C-573C429B4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F9809E6-B518-3F4B-B80A-00A1D6FE6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j-lt"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F6EC21E-B709-FC48-9BBF-7B55CC7A9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Bilde">
            <a:extLst>
              <a:ext uri="{FF2B5EF4-FFF2-40B4-BE49-F238E27FC236}">
                <a16:creationId xmlns:a16="http://schemas.microsoft.com/office/drawing/2014/main" id="{F5150A65-DBF1-1A48-8233-29551C007E9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4615200" cy="4615200"/>
          </a:xfrm>
          <a:solidFill>
            <a:schemeClr val="bg2"/>
          </a:solidFill>
        </p:spPr>
        <p:txBody>
          <a:bodyPr lIns="720000" tIns="720000" rIns="720000" bIns="720000"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340693A-1804-4560-A5F2-1CB64105EAD3}"/>
              </a:ext>
            </a:extLst>
          </p:cNvPr>
          <p:cNvGrpSpPr/>
          <p:nvPr userDrawn="1"/>
        </p:nvGrpSpPr>
        <p:grpSpPr>
          <a:xfrm>
            <a:off x="11583006" y="179995"/>
            <a:ext cx="428994" cy="428994"/>
            <a:chOff x="11583006" y="179995"/>
            <a:chExt cx="428994" cy="428994"/>
          </a:xfrm>
        </p:grpSpPr>
        <p:sp>
          <p:nvSpPr>
            <p:cNvPr id="13" name="Rektangel 7">
              <a:extLst>
                <a:ext uri="{FF2B5EF4-FFF2-40B4-BE49-F238E27FC236}">
                  <a16:creationId xmlns:a16="http://schemas.microsoft.com/office/drawing/2014/main" id="{14D66226-0868-46F7-B5FC-13911898BEF7}"/>
                </a:ext>
              </a:extLst>
            </p:cNvPr>
            <p:cNvSpPr/>
            <p:nvPr/>
          </p:nvSpPr>
          <p:spPr>
            <a:xfrm>
              <a:off x="11583006" y="179995"/>
              <a:ext cx="428994" cy="42899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4" name="Grafikk 8">
              <a:extLst>
                <a:ext uri="{FF2B5EF4-FFF2-40B4-BE49-F238E27FC236}">
                  <a16:creationId xmlns:a16="http://schemas.microsoft.com/office/drawing/2014/main" id="{0BB41FEB-3E03-4AC5-8600-2D759C5F9EB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583006" y="179995"/>
              <a:ext cx="428994" cy="4289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830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910">
          <p15:clr>
            <a:srgbClr val="FBAE40"/>
          </p15:clr>
        </p15:guide>
        <p15:guide id="2" pos="3364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 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BA2BBCF1-6F0F-8A4F-A227-ABF431951B90}"/>
              </a:ext>
            </a:extLst>
          </p:cNvPr>
          <p:cNvSpPr/>
          <p:nvPr/>
        </p:nvSpPr>
        <p:spPr>
          <a:xfrm flipV="1">
            <a:off x="0" y="5335200"/>
            <a:ext cx="5340350" cy="1522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CA9475B8-00D9-476E-9020-2BBEB81679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40350" y="0"/>
            <a:ext cx="6851650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C929E29-018C-5F49-AFD1-E1D4A5301A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796"/>
            <a:ext cx="5340350" cy="3438000"/>
          </a:xfrm>
        </p:spPr>
        <p:txBody>
          <a:bodyPr lIns="720000" tIns="720000" rIns="360000" bIns="180000" anchor="b" anchorCtr="0">
            <a:noAutofit/>
          </a:bodyPr>
          <a:lstStyle>
            <a:lvl1pPr>
              <a:lnSpc>
                <a:spcPct val="90000"/>
              </a:lnSpc>
              <a:defRPr sz="5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C2ADE2A-446E-F44D-8B0C-69B38F62E15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0" y="3429000"/>
            <a:ext cx="5340350" cy="1906200"/>
          </a:xfrm>
        </p:spPr>
        <p:txBody>
          <a:bodyPr lIns="720000" rIns="360000" bIns="180000">
            <a:norm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5613402-9B9E-8B49-8A1C-573C429B4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F9809E6-B518-3F4B-B80A-00A1D6FE6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F6EC21E-B709-FC48-9BBF-7B55CC7A9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96610DBE-3562-451E-861A-C9CB0A5B0BF9}"/>
              </a:ext>
            </a:extLst>
          </p:cNvPr>
          <p:cNvSpPr txBox="1">
            <a:spLocks/>
          </p:cNvSpPr>
          <p:nvPr userDrawn="1"/>
        </p:nvSpPr>
        <p:spPr>
          <a:xfrm>
            <a:off x="11583005" y="0"/>
            <a:ext cx="608995" cy="608994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1" t="29490" r="29556" b="-2"/>
            </a:stretch>
          </a:blipFill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None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8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02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36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70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0208227F-C722-4A36-9BF0-ECCC1A5760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3154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364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 utfallen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5481A32F-4AD6-4E16-A15D-3A2E7F5BEC7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C929E29-018C-5F49-AFD1-E1D4A5301A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4626011" cy="3438000"/>
          </a:xfrm>
          <a:solidFill>
            <a:schemeClr val="accent1"/>
          </a:solidFill>
        </p:spPr>
        <p:txBody>
          <a:bodyPr lIns="720000" tIns="720000" rIns="360000" bIns="180000" anchor="b" anchorCtr="0">
            <a:noAutofit/>
          </a:bodyPr>
          <a:lstStyle>
            <a:lvl1pPr>
              <a:lnSpc>
                <a:spcPct val="90000"/>
              </a:lnSpc>
              <a:defRPr sz="5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C2ADE2A-446E-F44D-8B0C-69B38F62E15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0" y="3429000"/>
            <a:ext cx="4626011" cy="1189801"/>
          </a:xfrm>
          <a:solidFill>
            <a:schemeClr val="accent1"/>
          </a:solidFill>
        </p:spPr>
        <p:txBody>
          <a:bodyPr lIns="720000" rIns="360000" bIns="18000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5613402-9B9E-8B49-8A1C-573C429B4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F9809E6-B518-3F4B-B80A-00A1D6FE6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0840" y="6419782"/>
            <a:ext cx="10389328" cy="187105"/>
          </a:xfrm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F6EC21E-B709-FC48-9BBF-7B55CC7A9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E2EA377E-1F4F-4E5E-B619-15182415ADB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6808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910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 utfallen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BEB8DCAA-94DE-4A9F-B463-530E94719ED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C929E29-018C-5F49-AFD1-E1D4A5301A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2239198"/>
            <a:ext cx="4619624" cy="2707200"/>
          </a:xfrm>
          <a:solidFill>
            <a:schemeClr val="accent1"/>
          </a:solidFill>
        </p:spPr>
        <p:txBody>
          <a:bodyPr lIns="720000" tIns="720000" rIns="360000" bIns="360000" anchor="t" anchorCtr="0">
            <a:noAutofit/>
          </a:bodyPr>
          <a:lstStyle>
            <a:lvl1pPr>
              <a:lnSpc>
                <a:spcPct val="90000"/>
              </a:lnSpc>
              <a:defRPr sz="5800"/>
            </a:lvl1pPr>
          </a:lstStyle>
          <a:p>
            <a:r>
              <a:rPr lang="nb-NO"/>
              <a:t>Tittel to linjer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C2ADE2A-446E-F44D-8B0C-69B38F62E15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-1" y="4936341"/>
            <a:ext cx="4619626" cy="1916864"/>
          </a:xfrm>
          <a:solidFill>
            <a:schemeClr val="accent1"/>
          </a:solidFill>
        </p:spPr>
        <p:txBody>
          <a:bodyPr lIns="720000" rIns="360000" bIns="64800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5613402-9B9E-8B49-8A1C-573C429B4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F6EC21E-B709-FC48-9BBF-7B55CC7A9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C608973-1122-4BA3-BAC7-5BD855A2AB7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86353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910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 utfallen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e">
            <a:extLst>
              <a:ext uri="{FF2B5EF4-FFF2-40B4-BE49-F238E27FC236}">
                <a16:creationId xmlns:a16="http://schemas.microsoft.com/office/drawing/2014/main" id="{8237FB4C-407D-4290-8BC0-BEA5DDC0789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CB7252C-2FC3-4CA6-9CC6-99643D2747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2376" y="2239198"/>
            <a:ext cx="4619624" cy="2707200"/>
          </a:xfrm>
          <a:solidFill>
            <a:schemeClr val="accent1"/>
          </a:solidFill>
        </p:spPr>
        <p:txBody>
          <a:bodyPr lIns="720000" tIns="720000" rIns="360000" bIns="360000" anchor="t" anchorCtr="0">
            <a:noAutofit/>
          </a:bodyPr>
          <a:lstStyle>
            <a:lvl1pPr>
              <a:lnSpc>
                <a:spcPct val="90000"/>
              </a:lnSpc>
              <a:defRPr sz="5800"/>
            </a:lvl1pPr>
          </a:lstStyle>
          <a:p>
            <a:r>
              <a:rPr lang="nb-NO"/>
              <a:t>Tittel to linjer</a:t>
            </a:r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C1F2C58D-14F9-4521-B1B9-4ECFB5299DC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572374" y="4936341"/>
            <a:ext cx="4619626" cy="1916864"/>
          </a:xfrm>
          <a:solidFill>
            <a:schemeClr val="accent1"/>
          </a:solidFill>
        </p:spPr>
        <p:txBody>
          <a:bodyPr lIns="720000" rIns="360000" bIns="64800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5613402-9B9E-8B49-8A1C-573C429B4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F6EC21E-B709-FC48-9BBF-7B55CC7A9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308746C-860C-40FF-93C3-76E93B9389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90939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+ teks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39725" y="274639"/>
            <a:ext cx="6560456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943872" y="1600201"/>
            <a:ext cx="6536928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1798AC62-7ED8-4D52-A3F6-CB60076A8E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882" b="1518"/>
          <a:stretch/>
        </p:blipFill>
        <p:spPr>
          <a:xfrm>
            <a:off x="0" y="0"/>
            <a:ext cx="4664364" cy="6857999"/>
          </a:xfrm>
          <a:prstGeom prst="rect">
            <a:avLst/>
          </a:prstGeom>
        </p:spPr>
      </p:pic>
      <p:pic>
        <p:nvPicPr>
          <p:cNvPr id="7" name="Graphic 2">
            <a:extLst>
              <a:ext uri="{FF2B5EF4-FFF2-40B4-BE49-F238E27FC236}">
                <a16:creationId xmlns:a16="http://schemas.microsoft.com/office/drawing/2014/main" id="{772E5B19-11DA-4A14-B2E5-E8AEDC754D7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0074" y="6343650"/>
            <a:ext cx="1022492" cy="297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35503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954A463-EC8E-5847-B083-46ED2B2036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0" y="1933200"/>
            <a:ext cx="5202000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18FB1FE6-1882-1F4B-972F-303EE5A6CD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0000" y="1933200"/>
            <a:ext cx="5202000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tekst 13">
            <a:extLst>
              <a:ext uri="{FF2B5EF4-FFF2-40B4-BE49-F238E27FC236}">
                <a16:creationId xmlns:a16="http://schemas.microsoft.com/office/drawing/2014/main" id="{8B9A2659-739A-4C9F-924D-B7BBC42CFF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182559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innholdsd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954A463-EC8E-5847-B083-46ED2B2036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0" y="1933200"/>
            <a:ext cx="5202000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tekst 13">
            <a:extLst>
              <a:ext uri="{FF2B5EF4-FFF2-40B4-BE49-F238E27FC236}">
                <a16:creationId xmlns:a16="http://schemas.microsoft.com/office/drawing/2014/main" id="{C75C545F-2236-458A-86F6-73B9E7B8B7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2888543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954A463-EC8E-5847-B083-46ED2B2036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0" y="1933200"/>
            <a:ext cx="3348766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18FB1FE6-1882-1F4B-972F-303EE5A6CD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24045" y="1933200"/>
            <a:ext cx="3348766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Plassholder for innhold 3">
            <a:extLst>
              <a:ext uri="{FF2B5EF4-FFF2-40B4-BE49-F238E27FC236}">
                <a16:creationId xmlns:a16="http://schemas.microsoft.com/office/drawing/2014/main" id="{756B11D1-AC17-F34E-B03E-8B3BBCA1A6A0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129625" y="1933200"/>
            <a:ext cx="3348000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8D852E-2E7A-9F42-A673-7300C8EA5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tekst 13">
            <a:extLst>
              <a:ext uri="{FF2B5EF4-FFF2-40B4-BE49-F238E27FC236}">
                <a16:creationId xmlns:a16="http://schemas.microsoft.com/office/drawing/2014/main" id="{9B426891-3582-4A9B-81F9-8E6E6968AC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1112510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2787">
          <p15:clr>
            <a:srgbClr val="FBAE40"/>
          </p15:clr>
        </p15:guide>
        <p15:guide id="4" pos="2560">
          <p15:clr>
            <a:srgbClr val="FBAE40"/>
          </p15:clr>
        </p15:guide>
        <p15:guide id="5" pos="4897">
          <p15:clr>
            <a:srgbClr val="FBAE40"/>
          </p15:clr>
        </p15:guide>
        <p15:guide id="6" pos="5120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og lit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AFC8D52C-7CBC-43AB-B38D-64FC09BC4F5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859712" y="0"/>
            <a:ext cx="4332287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954A463-EC8E-5847-B083-46ED2B2036A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19999" y="1933200"/>
            <a:ext cx="6815863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DBB7903-3F40-4A9D-86F5-F7024DC597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631507"/>
            <a:ext cx="6815862" cy="1019278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13" name="Plassholder for tekst 13">
            <a:extLst>
              <a:ext uri="{FF2B5EF4-FFF2-40B4-BE49-F238E27FC236}">
                <a16:creationId xmlns:a16="http://schemas.microsoft.com/office/drawing/2014/main" id="{6FE5A8EC-6766-4532-B995-555DA93B25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05CF659-7009-41D3-890A-C988EE8A70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88877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4747">
          <p15:clr>
            <a:srgbClr val="FBAE40"/>
          </p15:clr>
        </p15:guide>
        <p15:guide id="4" pos="4951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og lite bilde kredite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8FF52738-4E59-48DF-9B25-AD1CFF9994B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859712" y="0"/>
            <a:ext cx="4332287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2184BDD8-EB22-4CFD-BB12-73A6CA8C2E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954A463-EC8E-5847-B083-46ED2B2036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9" y="1933200"/>
            <a:ext cx="6815863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DBB7903-3F40-4A9D-86F5-F7024DC597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631507"/>
            <a:ext cx="6815862" cy="1019278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12" name="Plassholder for tekst 13">
            <a:extLst>
              <a:ext uri="{FF2B5EF4-FFF2-40B4-BE49-F238E27FC236}">
                <a16:creationId xmlns:a16="http://schemas.microsoft.com/office/drawing/2014/main" id="{F7BAD015-1BBA-4149-94F8-21E1C76216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59712" y="5628968"/>
            <a:ext cx="4332287" cy="1229032"/>
          </a:xfrm>
          <a:solidFill>
            <a:schemeClr val="tx2"/>
          </a:solidFill>
        </p:spPr>
        <p:txBody>
          <a:bodyPr wrap="square" lIns="360000" tIns="360000" rIns="720000" bIns="360000" anchor="t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noProof="0"/>
              <a:t>Bildetekst kreditering</a:t>
            </a:r>
          </a:p>
        </p:txBody>
      </p:sp>
      <p:sp>
        <p:nvSpPr>
          <p:cNvPr id="14" name="Plassholder for tekst 13">
            <a:extLst>
              <a:ext uri="{FF2B5EF4-FFF2-40B4-BE49-F238E27FC236}">
                <a16:creationId xmlns:a16="http://schemas.microsoft.com/office/drawing/2014/main" id="{F811E609-4A2A-46A5-9D70-6EDF10A2D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54161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46">
          <p15:clr>
            <a:srgbClr val="FBAE40"/>
          </p15:clr>
        </p15:guide>
        <p15:guide id="3" pos="4747">
          <p15:clr>
            <a:srgbClr val="FBAE40"/>
          </p15:clr>
        </p15:guide>
        <p15:guide id="4" pos="4951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og 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C9F52DD-4A98-4D71-8900-DC57F23D4C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69038" y="0"/>
            <a:ext cx="5922961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954A463-EC8E-5847-B083-46ED2B2036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0" y="1933200"/>
            <a:ext cx="5202000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631507"/>
            <a:ext cx="5202000" cy="1019278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tekst 13">
            <a:extLst>
              <a:ext uri="{FF2B5EF4-FFF2-40B4-BE49-F238E27FC236}">
                <a16:creationId xmlns:a16="http://schemas.microsoft.com/office/drawing/2014/main" id="{25FBC8C8-228E-477B-B58F-9805FED426F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EF5381C-20B7-45B6-B4CA-8B272784A2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94960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og stort bilde kredite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F2086882-4DF4-4FCF-9CFA-D768C6D519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69038" y="0"/>
            <a:ext cx="5922961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F920B60-1C94-4F58-89CA-C6AA11FC753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954A463-EC8E-5847-B083-46ED2B2036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0" y="1933200"/>
            <a:ext cx="5202000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631507"/>
            <a:ext cx="5202000" cy="1019278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tekst 13">
            <a:extLst>
              <a:ext uri="{FF2B5EF4-FFF2-40B4-BE49-F238E27FC236}">
                <a16:creationId xmlns:a16="http://schemas.microsoft.com/office/drawing/2014/main" id="{D30A3569-F534-459A-88C1-6A517D17A9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69038" y="5628968"/>
            <a:ext cx="5922961" cy="1229032"/>
          </a:xfrm>
          <a:solidFill>
            <a:schemeClr val="tx2"/>
          </a:solidFill>
        </p:spPr>
        <p:txBody>
          <a:bodyPr wrap="square" lIns="360000" tIns="360000" rIns="720000" bIns="360000" anchor="t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noProof="0"/>
              <a:t>Bildetekst kreditering</a:t>
            </a:r>
          </a:p>
        </p:txBody>
      </p:sp>
      <p:sp>
        <p:nvSpPr>
          <p:cNvPr id="11" name="Plassholder for tekst 13">
            <a:extLst>
              <a:ext uri="{FF2B5EF4-FFF2-40B4-BE49-F238E27FC236}">
                <a16:creationId xmlns:a16="http://schemas.microsoft.com/office/drawing/2014/main" id="{333722B0-66EF-4EAE-A36E-3DF2AB0FEC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2236276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graf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F2D6B6-A69B-4BDF-8EDB-8EC348BA2D5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25950" y="1984375"/>
            <a:ext cx="7045325" cy="4156075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  <a:lvl2pPr marL="234000" indent="0">
              <a:buNone/>
              <a:defRPr/>
            </a:lvl2pPr>
            <a:lvl3pPr marL="468000" indent="0">
              <a:buNone/>
              <a:defRPr/>
            </a:lvl3pPr>
            <a:lvl4pPr marL="702000" indent="0">
              <a:buNone/>
              <a:defRPr/>
            </a:lvl4pPr>
            <a:lvl5pPr marL="936000" indent="0">
              <a:buNone/>
              <a:defRPr/>
            </a:lvl5pPr>
          </a:lstStyle>
          <a:p>
            <a:pPr lvl="0"/>
            <a:r>
              <a:rPr lang="nb-NO" sz="100"/>
              <a:t> </a:t>
            </a:r>
            <a:endParaRPr lang="en-US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8D852E-2E7A-9F42-A673-7300C8EA5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22" name="Plassholder for tekst 18">
            <a:extLst>
              <a:ext uri="{FF2B5EF4-FFF2-40B4-BE49-F238E27FC236}">
                <a16:creationId xmlns:a16="http://schemas.microsoft.com/office/drawing/2014/main" id="{3C91A1EB-4B86-4BC3-A61C-D93ABE3511E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5987" y="5220000"/>
            <a:ext cx="7046013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24" name="Plassholder for innhold 2">
            <a:extLst>
              <a:ext uri="{FF2B5EF4-FFF2-40B4-BE49-F238E27FC236}">
                <a16:creationId xmlns:a16="http://schemas.microsoft.com/office/drawing/2014/main" id="{450FEC5B-834D-4F5F-A75C-BD4FFA5D70F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9" y="1980000"/>
            <a:ext cx="3350351" cy="4160450"/>
          </a:xfrm>
          <a:solidFill>
            <a:schemeClr val="accent1"/>
          </a:solidFill>
        </p:spPr>
        <p:txBody>
          <a:bodyPr lIns="360000" tIns="360000" rIns="360000" bIns="360000"/>
          <a:lstStyle>
            <a:lvl1pPr marL="0" indent="0">
              <a:buNone/>
              <a:defRPr/>
            </a:lvl1pPr>
            <a:lvl2pPr marL="0">
              <a:buClr>
                <a:schemeClr val="bg1"/>
              </a:buClr>
              <a:defRPr sz="2000"/>
            </a:lvl2pPr>
            <a:lvl3pPr marL="468000">
              <a:buClr>
                <a:schemeClr val="bg1"/>
              </a:buClr>
              <a:defRPr/>
            </a:lvl3pPr>
            <a:lvl4pPr marL="702000">
              <a:buClr>
                <a:schemeClr val="bg1"/>
              </a:buClr>
              <a:defRPr/>
            </a:lvl4pPr>
            <a:lvl5pPr marL="936000">
              <a:buClr>
                <a:schemeClr val="bg1"/>
              </a:buCl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ekst 13">
            <a:extLst>
              <a:ext uri="{FF2B5EF4-FFF2-40B4-BE49-F238E27FC236}">
                <a16:creationId xmlns:a16="http://schemas.microsoft.com/office/drawing/2014/main" id="{27999DD9-0D5A-4743-9035-54FA74A45D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7A8E1B1-1990-4BD1-9B7C-C0809F69D6CC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4600363" y="2168011"/>
            <a:ext cx="6716925" cy="2888178"/>
          </a:xfrm>
        </p:spPr>
        <p:txBody>
          <a:bodyPr/>
          <a:lstStyle/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449209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2787">
          <p15:clr>
            <a:srgbClr val="FBAE40"/>
          </p15:clr>
        </p15:guide>
        <p15:guide id="4" pos="2560">
          <p15:clr>
            <a:srgbClr val="FBAE40"/>
          </p15:clr>
        </p15:guide>
        <p15:guide id="5" pos="4897">
          <p15:clr>
            <a:srgbClr val="FBAE40"/>
          </p15:clr>
        </p15:guide>
        <p15:guide id="6" pos="5120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graf og tekst alterna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A8410F-D36D-41CF-9616-FDE9DB5C511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29587" y="1984375"/>
            <a:ext cx="3348000" cy="4156075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80988C-C20E-4FBB-A80E-404A6E7C21D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9138" y="1984375"/>
            <a:ext cx="7054850" cy="4156075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  <a:lvl2pPr marL="234000" indent="0">
              <a:buNone/>
              <a:defRPr/>
            </a:lvl2pPr>
            <a:lvl3pPr marL="468000" indent="0">
              <a:buNone/>
              <a:defRPr/>
            </a:lvl3pPr>
            <a:lvl4pPr marL="702000" indent="0">
              <a:buNone/>
              <a:defRPr/>
            </a:lvl4pPr>
            <a:lvl5pPr marL="936000" indent="0">
              <a:buNone/>
              <a:defRPr/>
            </a:lvl5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8D852E-2E7A-9F42-A673-7300C8EA5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22" name="Plassholder for tekst 18">
            <a:extLst>
              <a:ext uri="{FF2B5EF4-FFF2-40B4-BE49-F238E27FC236}">
                <a16:creationId xmlns:a16="http://schemas.microsoft.com/office/drawing/2014/main" id="{3C91A1EB-4B86-4BC3-A61C-D93ABE3511E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0000" y="5220000"/>
            <a:ext cx="7053988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12" name="Plassholder for tekst 13">
            <a:extLst>
              <a:ext uri="{FF2B5EF4-FFF2-40B4-BE49-F238E27FC236}">
                <a16:creationId xmlns:a16="http://schemas.microsoft.com/office/drawing/2014/main" id="{27999DD9-0D5A-4743-9035-54FA74A45D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7A8E1B1-1990-4BD1-9B7C-C0809F69D6CC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902351" y="2168011"/>
            <a:ext cx="6716925" cy="2888178"/>
          </a:xfrm>
        </p:spPr>
        <p:txBody>
          <a:bodyPr/>
          <a:lstStyle/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4" name="Plassholder for tekst 18">
            <a:extLst>
              <a:ext uri="{FF2B5EF4-FFF2-40B4-BE49-F238E27FC236}">
                <a16:creationId xmlns:a16="http://schemas.microsoft.com/office/drawing/2014/main" id="{593EFFD8-D333-45F6-A768-1FCA56971DF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129626" y="5220000"/>
            <a:ext cx="3348000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15" name="Plassholder for tekst 18">
            <a:extLst>
              <a:ext uri="{FF2B5EF4-FFF2-40B4-BE49-F238E27FC236}">
                <a16:creationId xmlns:a16="http://schemas.microsoft.com/office/drawing/2014/main" id="{CA5090C5-3A0D-4EE7-B260-2B6F8CBEE16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29626" y="1984375"/>
            <a:ext cx="3348000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7A7B1C2-0F4B-4101-B9DB-D1E682A0CBCC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8304001" y="2715865"/>
            <a:ext cx="2880000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829237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2787">
          <p15:clr>
            <a:srgbClr val="FBAE40"/>
          </p15:clr>
        </p15:guide>
        <p15:guide id="4" pos="2560">
          <p15:clr>
            <a:srgbClr val="FBAE40"/>
          </p15:clr>
        </p15:guide>
        <p15:guide id="5" pos="4897">
          <p15:clr>
            <a:srgbClr val="FBAE40"/>
          </p15:clr>
        </p15:guide>
        <p15:guide id="6" pos="5120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grafer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694E1C6-3ED3-4491-BC15-AE411C88CC8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29626" y="1983600"/>
            <a:ext cx="3348000" cy="415685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AFC0DB-5738-40F0-B8A9-44FF1369345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4363" y="1983600"/>
            <a:ext cx="3348000" cy="415685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8D852E-2E7A-9F42-A673-7300C8EA5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22" name="Plassholder for tekst 18">
            <a:extLst>
              <a:ext uri="{FF2B5EF4-FFF2-40B4-BE49-F238E27FC236}">
                <a16:creationId xmlns:a16="http://schemas.microsoft.com/office/drawing/2014/main" id="{3C91A1EB-4B86-4BC3-A61C-D93ABE3511E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5988" y="5220000"/>
            <a:ext cx="3348000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23" name="Plassholder for tekst 18">
            <a:extLst>
              <a:ext uri="{FF2B5EF4-FFF2-40B4-BE49-F238E27FC236}">
                <a16:creationId xmlns:a16="http://schemas.microsoft.com/office/drawing/2014/main" id="{A875BC79-D654-4C41-B2F5-B91060AB20A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25988" y="1984375"/>
            <a:ext cx="3348000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24" name="Plassholder for innhold 2">
            <a:extLst>
              <a:ext uri="{FF2B5EF4-FFF2-40B4-BE49-F238E27FC236}">
                <a16:creationId xmlns:a16="http://schemas.microsoft.com/office/drawing/2014/main" id="{450FEC5B-834D-4F5F-A75C-BD4FFA5D70F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9" y="1980000"/>
            <a:ext cx="3350351" cy="4160450"/>
          </a:xfrm>
          <a:solidFill>
            <a:schemeClr val="accent1"/>
          </a:solidFill>
        </p:spPr>
        <p:txBody>
          <a:bodyPr lIns="360000" tIns="360000" rIns="360000" bIns="360000"/>
          <a:lstStyle>
            <a:lvl1pPr marL="0" indent="0">
              <a:buNone/>
              <a:defRPr/>
            </a:lvl1pPr>
            <a:lvl2pPr marL="0">
              <a:buClr>
                <a:schemeClr val="bg1"/>
              </a:buClr>
              <a:defRPr sz="2000"/>
            </a:lvl2pPr>
            <a:lvl3pPr marL="468000">
              <a:buClr>
                <a:schemeClr val="bg1"/>
              </a:buClr>
              <a:defRPr/>
            </a:lvl3pPr>
            <a:lvl4pPr marL="702000">
              <a:buClr>
                <a:schemeClr val="bg1"/>
              </a:buClr>
              <a:defRPr/>
            </a:lvl4pPr>
            <a:lvl5pPr marL="936000">
              <a:buClr>
                <a:schemeClr val="bg1"/>
              </a:buCl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6" name="Plassholder for tekst 13">
            <a:extLst>
              <a:ext uri="{FF2B5EF4-FFF2-40B4-BE49-F238E27FC236}">
                <a16:creationId xmlns:a16="http://schemas.microsoft.com/office/drawing/2014/main" id="{6D40D958-14BE-41EA-8032-35A528F15B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A6291DF9-E7EC-44DD-88E6-EB2B26CB57A6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4600363" y="2715865"/>
            <a:ext cx="2880000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32" name="Plassholder for tekst 18">
            <a:extLst>
              <a:ext uri="{FF2B5EF4-FFF2-40B4-BE49-F238E27FC236}">
                <a16:creationId xmlns:a16="http://schemas.microsoft.com/office/drawing/2014/main" id="{530C8A59-B4DB-4B01-973E-0B897409218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129626" y="5220000"/>
            <a:ext cx="3348000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33" name="Plassholder for tekst 18">
            <a:extLst>
              <a:ext uri="{FF2B5EF4-FFF2-40B4-BE49-F238E27FC236}">
                <a16:creationId xmlns:a16="http://schemas.microsoft.com/office/drawing/2014/main" id="{A2A33D77-6968-4EDE-9FD6-A396FA41B3F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29626" y="1984375"/>
            <a:ext cx="3348000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E57E1672-5A91-480C-BB2D-116381360421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8304001" y="2715865"/>
            <a:ext cx="2880000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41091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2787">
          <p15:clr>
            <a:srgbClr val="FBAE40"/>
          </p15:clr>
        </p15:guide>
        <p15:guide id="4" pos="2560">
          <p15:clr>
            <a:srgbClr val="FBAE40"/>
          </p15:clr>
        </p15:guide>
        <p15:guide id="5" pos="4897">
          <p15:clr>
            <a:srgbClr val="FBAE40"/>
          </p15:clr>
        </p15:guide>
        <p15:guide id="6" pos="51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+ tekst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39725" y="274639"/>
            <a:ext cx="6560456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943872" y="1600201"/>
            <a:ext cx="6536928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6" name="Plassholder for innhold 14" descr="Et bilde som inneholder himmel, utendørs, bilvei, skyet&#10;&#10;Automatisk generert beskrivelse">
            <a:extLst>
              <a:ext uri="{FF2B5EF4-FFF2-40B4-BE49-F238E27FC236}">
                <a16:creationId xmlns:a16="http://schemas.microsoft.com/office/drawing/2014/main" id="{9F383A93-3B3C-4B73-94BA-2C81ADA9F0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92" r="6416" b="2"/>
          <a:stretch/>
        </p:blipFill>
        <p:spPr>
          <a:xfrm>
            <a:off x="27" y="13"/>
            <a:ext cx="4635564" cy="6857987"/>
          </a:xfrm>
          <a:prstGeom prst="rect">
            <a:avLst/>
          </a:prstGeom>
          <a:effectLst/>
        </p:spPr>
      </p:pic>
      <p:pic>
        <p:nvPicPr>
          <p:cNvPr id="7" name="Graphic 2">
            <a:extLst>
              <a:ext uri="{FF2B5EF4-FFF2-40B4-BE49-F238E27FC236}">
                <a16:creationId xmlns:a16="http://schemas.microsoft.com/office/drawing/2014/main" id="{44C2AA69-872E-4B55-AD34-B31E06E3C00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0074" y="6343650"/>
            <a:ext cx="1022492" cy="297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1272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graf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06B4E479-CAA3-44CE-B515-AD833BA28B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75625" y="1984375"/>
            <a:ext cx="5202000" cy="4156075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  <a:lvl2pPr marL="234000" indent="0">
              <a:buNone/>
              <a:defRPr/>
            </a:lvl2pPr>
            <a:lvl3pPr marL="468000" indent="0">
              <a:buNone/>
              <a:defRPr/>
            </a:lvl3pPr>
            <a:lvl4pPr marL="702000" indent="0">
              <a:buNone/>
              <a:defRPr/>
            </a:lvl4pPr>
            <a:lvl5pPr marL="936000" indent="0">
              <a:buNone/>
              <a:defRPr/>
            </a:lvl5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8CAAD7-3319-4DBE-948C-11D59542328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9139" y="1984375"/>
            <a:ext cx="5202000" cy="4156075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  <a:lvl2pPr marL="234000" indent="0">
              <a:buNone/>
              <a:defRPr/>
            </a:lvl2pPr>
            <a:lvl3pPr marL="468000" indent="0">
              <a:buNone/>
              <a:defRPr/>
            </a:lvl3pPr>
            <a:lvl4pPr marL="702000" indent="0">
              <a:buNone/>
              <a:defRPr/>
            </a:lvl4pPr>
            <a:lvl5pPr marL="936000" indent="0">
              <a:buNone/>
              <a:defRPr/>
            </a:lvl5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tekst 18">
            <a:extLst>
              <a:ext uri="{FF2B5EF4-FFF2-40B4-BE49-F238E27FC236}">
                <a16:creationId xmlns:a16="http://schemas.microsoft.com/office/drawing/2014/main" id="{FD7CD785-285C-41D8-AAB5-7A05424DE28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20000" y="5220000"/>
            <a:ext cx="5202000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14" name="Plassholder for tekst 18">
            <a:extLst>
              <a:ext uri="{FF2B5EF4-FFF2-40B4-BE49-F238E27FC236}">
                <a16:creationId xmlns:a16="http://schemas.microsoft.com/office/drawing/2014/main" id="{715319DC-D483-4937-82A8-8F76BD5FFAA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0000" y="1984376"/>
            <a:ext cx="5201131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16" name="Plassholder for tekst 13">
            <a:extLst>
              <a:ext uri="{FF2B5EF4-FFF2-40B4-BE49-F238E27FC236}">
                <a16:creationId xmlns:a16="http://schemas.microsoft.com/office/drawing/2014/main" id="{D94F30A8-221D-4524-92F0-8DB7952D0D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DE9000ED-1131-46B5-A43A-B36B38C86DA0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890729" y="2715865"/>
            <a:ext cx="4660759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4" name="Plassholder for tekst 18">
            <a:extLst>
              <a:ext uri="{FF2B5EF4-FFF2-40B4-BE49-F238E27FC236}">
                <a16:creationId xmlns:a16="http://schemas.microsoft.com/office/drawing/2014/main" id="{0461257D-6E01-486E-B3DC-DA92A00EDF5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74729" y="5220000"/>
            <a:ext cx="5202000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25" name="Plassholder for tekst 18">
            <a:extLst>
              <a:ext uri="{FF2B5EF4-FFF2-40B4-BE49-F238E27FC236}">
                <a16:creationId xmlns:a16="http://schemas.microsoft.com/office/drawing/2014/main" id="{9A5F9A21-48F0-4C9F-B50D-658EE22B0EF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74729" y="1984376"/>
            <a:ext cx="5201131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FA9A7B2-A114-4AEA-AC5D-A073188873EC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445458" y="2715865"/>
            <a:ext cx="4660759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4228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graf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2BC399BA-F0AF-4F84-BAC8-2C3EFC6D745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29625" y="1984375"/>
            <a:ext cx="3348000" cy="4156075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0F87D375-B033-4753-8CD6-4C35D06A3C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5988" y="1984375"/>
            <a:ext cx="3348000" cy="4156075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D2C5AD-B6B4-468F-A77C-3E5DE702E98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9138" y="1984375"/>
            <a:ext cx="3348000" cy="4156075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8D852E-2E7A-9F42-A673-7300C8EA5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4" name="Plassholder for tekst 18">
            <a:extLst>
              <a:ext uri="{FF2B5EF4-FFF2-40B4-BE49-F238E27FC236}">
                <a16:creationId xmlns:a16="http://schemas.microsoft.com/office/drawing/2014/main" id="{B75737E8-545F-4CAE-9F3B-55D0E4C4FE8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20000" y="5220000"/>
            <a:ext cx="3348000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15" name="Plassholder for tekst 18">
            <a:extLst>
              <a:ext uri="{FF2B5EF4-FFF2-40B4-BE49-F238E27FC236}">
                <a16:creationId xmlns:a16="http://schemas.microsoft.com/office/drawing/2014/main" id="{3A6E2646-DB79-4BFB-8574-206EBAB927F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000" y="1984375"/>
            <a:ext cx="3348000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18" name="Plassholder for tekst 18">
            <a:extLst>
              <a:ext uri="{FF2B5EF4-FFF2-40B4-BE49-F238E27FC236}">
                <a16:creationId xmlns:a16="http://schemas.microsoft.com/office/drawing/2014/main" id="{D001B536-4AA3-4298-9B69-86BAD665A57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29625" y="5220000"/>
            <a:ext cx="3348000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19" name="Plassholder for tekst 18">
            <a:extLst>
              <a:ext uri="{FF2B5EF4-FFF2-40B4-BE49-F238E27FC236}">
                <a16:creationId xmlns:a16="http://schemas.microsoft.com/office/drawing/2014/main" id="{BE3A00A8-584F-4916-B4A2-69FE8A4B64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9625" y="1984375"/>
            <a:ext cx="3348000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22" name="Plassholder for tekst 18">
            <a:extLst>
              <a:ext uri="{FF2B5EF4-FFF2-40B4-BE49-F238E27FC236}">
                <a16:creationId xmlns:a16="http://schemas.microsoft.com/office/drawing/2014/main" id="{3C91A1EB-4B86-4BC3-A61C-D93ABE3511E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5988" y="5220000"/>
            <a:ext cx="3348000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23" name="Plassholder for tekst 18">
            <a:extLst>
              <a:ext uri="{FF2B5EF4-FFF2-40B4-BE49-F238E27FC236}">
                <a16:creationId xmlns:a16="http://schemas.microsoft.com/office/drawing/2014/main" id="{A875BC79-D654-4C41-B2F5-B91060AB20A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25988" y="1984375"/>
            <a:ext cx="3348000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25" name="Plassholder for tekst 13">
            <a:extLst>
              <a:ext uri="{FF2B5EF4-FFF2-40B4-BE49-F238E27FC236}">
                <a16:creationId xmlns:a16="http://schemas.microsoft.com/office/drawing/2014/main" id="{628FBC12-7624-4CF3-87C9-8A32D803D9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BF7B160C-BF61-4493-A921-9359760C3BBC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894375" y="2715863"/>
            <a:ext cx="2880000" cy="234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0E740BBB-3FC3-4E1A-865F-8DF8562E8539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4600363" y="2715863"/>
            <a:ext cx="2880000" cy="234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98185357-FF86-45EB-B748-3AE7792C8C6D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8304000" y="2715863"/>
            <a:ext cx="2880000" cy="234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54242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2787">
          <p15:clr>
            <a:srgbClr val="FBAE40"/>
          </p15:clr>
        </p15:guide>
        <p15:guide id="4" pos="2560">
          <p15:clr>
            <a:srgbClr val="FBAE40"/>
          </p15:clr>
        </p15:guide>
        <p15:guide id="5" pos="4897">
          <p15:clr>
            <a:srgbClr val="FBAE40"/>
          </p15:clr>
        </p15:guide>
        <p15:guide id="6" pos="5120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graf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697BF4C8-418A-4052-BE3F-56B5894436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495400" y="1983600"/>
            <a:ext cx="2422800" cy="416160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62822465-B312-49F0-B446-2F7416F0AC3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266669" y="1983600"/>
            <a:ext cx="2422800" cy="416160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9E9B29C-1D16-4B46-82AB-14FC4BA3536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050400" y="1983600"/>
            <a:ext cx="2422800" cy="416160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7CCC4B-6263-40B6-9846-8BF233273D0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18377" y="1983600"/>
            <a:ext cx="2422800" cy="416160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9137" y="6419783"/>
            <a:ext cx="10323157" cy="187102"/>
          </a:xfrm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tekst 18">
            <a:extLst>
              <a:ext uri="{FF2B5EF4-FFF2-40B4-BE49-F238E27FC236}">
                <a16:creationId xmlns:a16="http://schemas.microsoft.com/office/drawing/2014/main" id="{5BF4D152-F884-4439-8266-0180B59AD50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9996" y="5220000"/>
            <a:ext cx="2423399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13" name="Plassholder for tekst 18">
            <a:extLst>
              <a:ext uri="{FF2B5EF4-FFF2-40B4-BE49-F238E27FC236}">
                <a16:creationId xmlns:a16="http://schemas.microsoft.com/office/drawing/2014/main" id="{827C410A-334F-4B9E-AFAC-49D13200D9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9996" y="1984375"/>
            <a:ext cx="2423399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24" name="Plassholder for tekst 13">
            <a:extLst>
              <a:ext uri="{FF2B5EF4-FFF2-40B4-BE49-F238E27FC236}">
                <a16:creationId xmlns:a16="http://schemas.microsoft.com/office/drawing/2014/main" id="{158B584C-9242-4082-AB66-E8818AC707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751EABD1-5D9E-4878-AB31-EDC39AF9F520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899997" y="2715865"/>
            <a:ext cx="2057516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27" name="Plassholder for tekst 18">
            <a:extLst>
              <a:ext uri="{FF2B5EF4-FFF2-40B4-BE49-F238E27FC236}">
                <a16:creationId xmlns:a16="http://schemas.microsoft.com/office/drawing/2014/main" id="{ABB47701-D3F7-4392-B15E-CCCA2D1B5CB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493822" y="5220000"/>
            <a:ext cx="2423399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28" name="Plassholder for tekst 18">
            <a:extLst>
              <a:ext uri="{FF2B5EF4-FFF2-40B4-BE49-F238E27FC236}">
                <a16:creationId xmlns:a16="http://schemas.microsoft.com/office/drawing/2014/main" id="{902FEE4F-2E4C-474A-A0DC-65B0BF0EBEC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93822" y="1984375"/>
            <a:ext cx="2423399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1FADDE8-2990-43EB-B933-A56D1E589FB8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3673823" y="2715865"/>
            <a:ext cx="2057516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43" name="Plassholder for tekst 18">
            <a:extLst>
              <a:ext uri="{FF2B5EF4-FFF2-40B4-BE49-F238E27FC236}">
                <a16:creationId xmlns:a16="http://schemas.microsoft.com/office/drawing/2014/main" id="{90025967-CBD9-496A-9424-F3DE94BD2502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267648" y="5220000"/>
            <a:ext cx="2423399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44" name="Plassholder for tekst 18">
            <a:extLst>
              <a:ext uri="{FF2B5EF4-FFF2-40B4-BE49-F238E27FC236}">
                <a16:creationId xmlns:a16="http://schemas.microsoft.com/office/drawing/2014/main" id="{1A53525B-BD87-465E-9599-2A7DF91F353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67648" y="1984375"/>
            <a:ext cx="2423399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E391116F-F552-49E7-8737-CD467E97ECCF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447649" y="2715865"/>
            <a:ext cx="2057516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47" name="Plassholder for tekst 18">
            <a:extLst>
              <a:ext uri="{FF2B5EF4-FFF2-40B4-BE49-F238E27FC236}">
                <a16:creationId xmlns:a16="http://schemas.microsoft.com/office/drawing/2014/main" id="{724A212F-0A22-4F28-9566-7C806B40212B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50224" y="5220000"/>
            <a:ext cx="2423399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48" name="Plassholder for tekst 18">
            <a:extLst>
              <a:ext uri="{FF2B5EF4-FFF2-40B4-BE49-F238E27FC236}">
                <a16:creationId xmlns:a16="http://schemas.microsoft.com/office/drawing/2014/main" id="{90C79504-B594-4346-86B8-72328BFE8E4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50224" y="1984375"/>
            <a:ext cx="2423399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49" name="Content Placeholder 3">
            <a:extLst>
              <a:ext uri="{FF2B5EF4-FFF2-40B4-BE49-F238E27FC236}">
                <a16:creationId xmlns:a16="http://schemas.microsoft.com/office/drawing/2014/main" id="{80345C78-6813-4D94-9F11-5A1FDF391A22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9230225" y="2715865"/>
            <a:ext cx="2057516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</p:spTree>
    <p:extLst>
      <p:ext uri="{BB962C8B-B14F-4D97-AF65-F5344CB8AC3E}">
        <p14:creationId xmlns:p14="http://schemas.microsoft.com/office/powerpoint/2010/main" val="3896905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  <p15:guide id="5" pos="2201">
          <p15:clr>
            <a:srgbClr val="FBAE40"/>
          </p15:clr>
        </p15:guide>
        <p15:guide id="6" pos="1979">
          <p15:clr>
            <a:srgbClr val="FBAE40"/>
          </p15:clr>
        </p15:guide>
        <p15:guide id="7" pos="5474">
          <p15:clr>
            <a:srgbClr val="FBAE40"/>
          </p15:clr>
        </p15:guide>
        <p15:guide id="8" pos="5698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24" name="Plassholder for tekst 13">
            <a:extLst>
              <a:ext uri="{FF2B5EF4-FFF2-40B4-BE49-F238E27FC236}">
                <a16:creationId xmlns:a16="http://schemas.microsoft.com/office/drawing/2014/main" id="{158B584C-9242-4082-AB66-E8818AC707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5B2D0E-5E04-4066-9799-DB1EE1AAD7A0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20725" y="1984375"/>
            <a:ext cx="2422669" cy="2080193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DACDD3E-88B0-4E0B-A1B7-29E8C58BBB1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20725" y="4064000"/>
            <a:ext cx="2420938" cy="2076450"/>
          </a:xfrm>
          <a:solidFill>
            <a:schemeClr val="accent1"/>
          </a:solidFill>
        </p:spPr>
        <p:txBody>
          <a:bodyPr lIns="180000" tIns="180000" rIns="180000" bIns="180000">
            <a:noAutofit/>
          </a:bodyPr>
          <a:lstStyle>
            <a:lvl1pPr marL="179388" indent="-179388">
              <a:spcBef>
                <a:spcPts val="800"/>
              </a:spcBef>
              <a:buClr>
                <a:schemeClr val="bg1"/>
              </a:buClr>
              <a:defRPr sz="18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44" name="Picture Placeholder 11">
            <a:extLst>
              <a:ext uri="{FF2B5EF4-FFF2-40B4-BE49-F238E27FC236}">
                <a16:creationId xmlns:a16="http://schemas.microsoft.com/office/drawing/2014/main" id="{3E2F2529-6BAF-439A-A7FD-F99C443E924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494089" y="1984375"/>
            <a:ext cx="2422670" cy="2080193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869BAEFB-4306-4BDB-A353-7BF5CCAC71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494179" y="4064000"/>
            <a:ext cx="2420939" cy="2076450"/>
          </a:xfrm>
          <a:solidFill>
            <a:schemeClr val="accent1"/>
          </a:solidFill>
        </p:spPr>
        <p:txBody>
          <a:bodyPr lIns="180000" tIns="180000" rIns="180000" bIns="180000">
            <a:noAutofit/>
          </a:bodyPr>
          <a:lstStyle>
            <a:lvl1pPr marL="179388" indent="-179388">
              <a:spcBef>
                <a:spcPts val="800"/>
              </a:spcBef>
              <a:buClr>
                <a:schemeClr val="bg1"/>
              </a:buClr>
              <a:defRPr sz="18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46" name="Picture Placeholder 11">
            <a:extLst>
              <a:ext uri="{FF2B5EF4-FFF2-40B4-BE49-F238E27FC236}">
                <a16:creationId xmlns:a16="http://schemas.microsoft.com/office/drawing/2014/main" id="{ED2444A2-6D17-438E-9C4C-6169E08BEDF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275243" y="1984375"/>
            <a:ext cx="2422671" cy="2080193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303E5062-B15B-4193-8FEF-9858726FC26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275389" y="4064000"/>
            <a:ext cx="2420940" cy="2076450"/>
          </a:xfrm>
          <a:solidFill>
            <a:schemeClr val="accent1"/>
          </a:solidFill>
        </p:spPr>
        <p:txBody>
          <a:bodyPr lIns="180000" tIns="180000" rIns="180000" bIns="180000">
            <a:noAutofit/>
          </a:bodyPr>
          <a:lstStyle>
            <a:lvl1pPr marL="179388" indent="-179388">
              <a:spcBef>
                <a:spcPts val="800"/>
              </a:spcBef>
              <a:buClr>
                <a:schemeClr val="bg1"/>
              </a:buClr>
              <a:defRPr sz="18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48" name="Picture Placeholder 11">
            <a:extLst>
              <a:ext uri="{FF2B5EF4-FFF2-40B4-BE49-F238E27FC236}">
                <a16:creationId xmlns:a16="http://schemas.microsoft.com/office/drawing/2014/main" id="{06BFCAB3-DA6F-4954-A06F-4B935B86C299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9054960" y="1984375"/>
            <a:ext cx="2416315" cy="2080193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CF5D25C2-2C87-4142-BE8D-9F5C55DCC5D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55178" y="4064000"/>
            <a:ext cx="2414588" cy="2076450"/>
          </a:xfrm>
          <a:solidFill>
            <a:schemeClr val="accent1"/>
          </a:solidFill>
        </p:spPr>
        <p:txBody>
          <a:bodyPr lIns="180000" tIns="180000" rIns="180000" bIns="180000">
            <a:noAutofit/>
          </a:bodyPr>
          <a:lstStyle>
            <a:lvl1pPr marL="179388" indent="-179388">
              <a:spcBef>
                <a:spcPts val="800"/>
              </a:spcBef>
              <a:buClr>
                <a:schemeClr val="bg1"/>
              </a:buClr>
              <a:defRPr sz="18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058270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  <p15:guide id="5" pos="2201">
          <p15:clr>
            <a:srgbClr val="FBAE40"/>
          </p15:clr>
        </p15:guide>
        <p15:guide id="6" pos="1979">
          <p15:clr>
            <a:srgbClr val="FBAE40"/>
          </p15:clr>
        </p15:guide>
        <p15:guide id="7" pos="5474">
          <p15:clr>
            <a:srgbClr val="FBAE40"/>
          </p15:clr>
        </p15:guide>
        <p15:guide id="8" pos="5698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gr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24" name="Plassholder for tekst 13">
            <a:extLst>
              <a:ext uri="{FF2B5EF4-FFF2-40B4-BE49-F238E27FC236}">
                <a16:creationId xmlns:a16="http://schemas.microsoft.com/office/drawing/2014/main" id="{158B584C-9242-4082-AB66-E8818AC707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5B2D0E-5E04-4066-9799-DB1EE1AAD7A0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20725" y="1984375"/>
            <a:ext cx="2422669" cy="2080193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DACDD3E-88B0-4E0B-A1B7-29E8C58BBB1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20725" y="4064000"/>
            <a:ext cx="2420938" cy="2076450"/>
          </a:xfrm>
          <a:solidFill>
            <a:schemeClr val="accent1"/>
          </a:solidFill>
        </p:spPr>
        <p:txBody>
          <a:bodyPr lIns="180000" tIns="180000" rIns="180000" bIns="180000">
            <a:noAutofit/>
          </a:bodyPr>
          <a:lstStyle>
            <a:lvl1pPr marL="179388" indent="-179388">
              <a:spcBef>
                <a:spcPts val="800"/>
              </a:spcBef>
              <a:buClr>
                <a:schemeClr val="bg1"/>
              </a:buClr>
              <a:defRPr sz="18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44" name="Picture Placeholder 11">
            <a:extLst>
              <a:ext uri="{FF2B5EF4-FFF2-40B4-BE49-F238E27FC236}">
                <a16:creationId xmlns:a16="http://schemas.microsoft.com/office/drawing/2014/main" id="{3E2F2529-6BAF-439A-A7FD-F99C443E924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494089" y="1984375"/>
            <a:ext cx="2422670" cy="2080193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869BAEFB-4306-4BDB-A353-7BF5CCAC71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494179" y="4064000"/>
            <a:ext cx="2420939" cy="2076450"/>
          </a:xfrm>
          <a:solidFill>
            <a:schemeClr val="accent1"/>
          </a:solidFill>
        </p:spPr>
        <p:txBody>
          <a:bodyPr lIns="180000" tIns="180000" rIns="180000" bIns="180000">
            <a:noAutofit/>
          </a:bodyPr>
          <a:lstStyle>
            <a:lvl1pPr marL="179388" indent="-179388">
              <a:spcBef>
                <a:spcPts val="800"/>
              </a:spcBef>
              <a:buClr>
                <a:schemeClr val="bg1"/>
              </a:buClr>
              <a:defRPr sz="18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46" name="Picture Placeholder 11">
            <a:extLst>
              <a:ext uri="{FF2B5EF4-FFF2-40B4-BE49-F238E27FC236}">
                <a16:creationId xmlns:a16="http://schemas.microsoft.com/office/drawing/2014/main" id="{ED2444A2-6D17-438E-9C4C-6169E08BEDF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275243" y="1984375"/>
            <a:ext cx="2422671" cy="2080193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303E5062-B15B-4193-8FEF-9858726FC26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275389" y="4064000"/>
            <a:ext cx="2420940" cy="2076450"/>
          </a:xfrm>
          <a:solidFill>
            <a:schemeClr val="accent1"/>
          </a:solidFill>
        </p:spPr>
        <p:txBody>
          <a:bodyPr lIns="180000" tIns="180000" rIns="180000" bIns="180000">
            <a:noAutofit/>
          </a:bodyPr>
          <a:lstStyle>
            <a:lvl1pPr marL="179388" indent="-179388">
              <a:spcBef>
                <a:spcPts val="800"/>
              </a:spcBef>
              <a:buClr>
                <a:schemeClr val="bg1"/>
              </a:buClr>
              <a:defRPr sz="18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48" name="Picture Placeholder 11">
            <a:extLst>
              <a:ext uri="{FF2B5EF4-FFF2-40B4-BE49-F238E27FC236}">
                <a16:creationId xmlns:a16="http://schemas.microsoft.com/office/drawing/2014/main" id="{06BFCAB3-DA6F-4954-A06F-4B935B86C299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9054960" y="1984375"/>
            <a:ext cx="2416315" cy="2080193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CF5D25C2-2C87-4142-BE8D-9F5C55DCC5D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55178" y="4064000"/>
            <a:ext cx="2414588" cy="2076450"/>
          </a:xfrm>
          <a:solidFill>
            <a:schemeClr val="accent1"/>
          </a:solidFill>
        </p:spPr>
        <p:txBody>
          <a:bodyPr lIns="180000" tIns="180000" rIns="180000" bIns="180000">
            <a:noAutofit/>
          </a:bodyPr>
          <a:lstStyle>
            <a:lvl1pPr marL="179388" indent="-179388">
              <a:spcBef>
                <a:spcPts val="800"/>
              </a:spcBef>
              <a:buClr>
                <a:schemeClr val="bg1"/>
              </a:buClr>
              <a:defRPr sz="18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847040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  <p15:guide id="5" pos="2201">
          <p15:clr>
            <a:srgbClr val="FBAE40"/>
          </p15:clr>
        </p15:guide>
        <p15:guide id="6" pos="1979">
          <p15:clr>
            <a:srgbClr val="FBAE40"/>
          </p15:clr>
        </p15:guide>
        <p15:guide id="7" pos="5474">
          <p15:clr>
            <a:srgbClr val="FBAE40"/>
          </p15:clr>
        </p15:guide>
        <p15:guide id="8" pos="5698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lite bilde g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0">
            <a:extLst>
              <a:ext uri="{FF2B5EF4-FFF2-40B4-BE49-F238E27FC236}">
                <a16:creationId xmlns:a16="http://schemas.microsoft.com/office/drawing/2014/main" id="{8CB7E643-72CA-42D3-B8F4-B12BAD4ACC1B}"/>
              </a:ext>
            </a:extLst>
          </p:cNvPr>
          <p:cNvSpPr/>
          <p:nvPr userDrawn="1"/>
        </p:nvSpPr>
        <p:spPr>
          <a:xfrm>
            <a:off x="0" y="4615200"/>
            <a:ext cx="4615200" cy="2242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Bilde">
            <a:extLst>
              <a:ext uri="{FF2B5EF4-FFF2-40B4-BE49-F238E27FC236}">
                <a16:creationId xmlns:a16="http://schemas.microsoft.com/office/drawing/2014/main" id="{70C5FD86-6FDB-C641-B847-0B378C3B4E1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4615200" cy="4615200"/>
          </a:xfrm>
          <a:solidFill>
            <a:schemeClr val="bg2"/>
          </a:solidFill>
        </p:spPr>
        <p:txBody>
          <a:bodyPr lIns="720000" tIns="720000" rIns="720000" bIns="720000"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9C8A02EF-6CF4-6F4B-8683-956759D41FB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5197" y="631507"/>
            <a:ext cx="6138003" cy="5508943"/>
          </a:xfrm>
          <a:noFill/>
        </p:spPr>
        <p:txBody>
          <a:bodyPr lIns="0" tIns="0" rIns="0" bIns="0"/>
          <a:lstStyle>
            <a:lvl1pPr marL="0" indent="0">
              <a:buNone/>
              <a:defRPr sz="3000"/>
            </a:lvl1pPr>
            <a:lvl2pPr marL="0" indent="-285750">
              <a:buClr>
                <a:schemeClr val="bg1"/>
              </a:buClr>
              <a:buFont typeface="Wingdings" pitchFamily="2" charset="2"/>
              <a:buChar char="§"/>
              <a:defRPr sz="3000"/>
            </a:lvl2pPr>
            <a:lvl3pPr marL="753750" indent="-285750">
              <a:buClr>
                <a:schemeClr val="bg1"/>
              </a:buClr>
              <a:buFont typeface="Wingdings" pitchFamily="2" charset="2"/>
              <a:buChar char="§"/>
              <a:defRPr/>
            </a:lvl3pPr>
            <a:lvl4pPr marL="987750" indent="-285750">
              <a:buClr>
                <a:schemeClr val="bg1"/>
              </a:buClr>
              <a:buFont typeface="Wingdings" pitchFamily="2" charset="2"/>
              <a:buChar char="§"/>
              <a:defRPr/>
            </a:lvl4pPr>
            <a:lvl5pPr marL="1221750" indent="-285750">
              <a:buClr>
                <a:schemeClr val="bg1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  <a:p>
            <a:pPr lvl="0"/>
            <a:endParaRPr lang="nb-NO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FD54D4A-C642-4D39-BA17-B95CC0A23CCF}"/>
              </a:ext>
            </a:extLst>
          </p:cNvPr>
          <p:cNvGrpSpPr/>
          <p:nvPr userDrawn="1"/>
        </p:nvGrpSpPr>
        <p:grpSpPr>
          <a:xfrm>
            <a:off x="11583006" y="179995"/>
            <a:ext cx="428994" cy="428994"/>
            <a:chOff x="11583006" y="179995"/>
            <a:chExt cx="428994" cy="428994"/>
          </a:xfrm>
        </p:grpSpPr>
        <p:sp>
          <p:nvSpPr>
            <p:cNvPr id="13" name="Rektangel 7">
              <a:extLst>
                <a:ext uri="{FF2B5EF4-FFF2-40B4-BE49-F238E27FC236}">
                  <a16:creationId xmlns:a16="http://schemas.microsoft.com/office/drawing/2014/main" id="{976FEAB8-0260-44B2-826F-003717ED63EE}"/>
                </a:ext>
              </a:extLst>
            </p:cNvPr>
            <p:cNvSpPr/>
            <p:nvPr/>
          </p:nvSpPr>
          <p:spPr>
            <a:xfrm>
              <a:off x="11583006" y="179995"/>
              <a:ext cx="428994" cy="42899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4" name="Grafikk 8">
              <a:extLst>
                <a:ext uri="{FF2B5EF4-FFF2-40B4-BE49-F238E27FC236}">
                  <a16:creationId xmlns:a16="http://schemas.microsoft.com/office/drawing/2014/main" id="{F436227F-690D-44FE-8357-F1AB7B91A21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583006" y="179995"/>
              <a:ext cx="428994" cy="4289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79053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6">
          <p15:clr>
            <a:srgbClr val="FBAE40"/>
          </p15:clr>
        </p15:guide>
        <p15:guide id="2" orient="horz" pos="339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tort bilde g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e">
            <a:extLst>
              <a:ext uri="{FF2B5EF4-FFF2-40B4-BE49-F238E27FC236}">
                <a16:creationId xmlns:a16="http://schemas.microsoft.com/office/drawing/2014/main" id="{70C5FD86-6FDB-C641-B847-0B378C3B4E1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4615200" cy="6858001"/>
          </a:xfrm>
          <a:solidFill>
            <a:schemeClr val="bg2"/>
          </a:solidFill>
        </p:spPr>
        <p:txBody>
          <a:bodyPr lIns="720000" tIns="720000" rIns="720000" bIns="720000"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9C8A02EF-6CF4-6F4B-8683-956759D41FB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5197" y="631507"/>
            <a:ext cx="6138003" cy="5508943"/>
          </a:xfrm>
          <a:noFill/>
        </p:spPr>
        <p:txBody>
          <a:bodyPr lIns="0" tIns="0" rIns="0" bIns="0"/>
          <a:lstStyle>
            <a:lvl1pPr marL="0" indent="0">
              <a:buNone/>
              <a:defRPr sz="3000"/>
            </a:lvl1pPr>
            <a:lvl2pPr marL="0" indent="-285750">
              <a:buClr>
                <a:schemeClr val="bg1"/>
              </a:buClr>
              <a:buFont typeface="Wingdings" pitchFamily="2" charset="2"/>
              <a:buChar char="§"/>
              <a:defRPr sz="3000"/>
            </a:lvl2pPr>
            <a:lvl3pPr marL="753750" indent="-285750">
              <a:buClr>
                <a:schemeClr val="bg1"/>
              </a:buClr>
              <a:buFont typeface="Wingdings" pitchFamily="2" charset="2"/>
              <a:buChar char="§"/>
              <a:defRPr/>
            </a:lvl3pPr>
            <a:lvl4pPr marL="987750" indent="-285750">
              <a:buClr>
                <a:schemeClr val="bg1"/>
              </a:buClr>
              <a:buFont typeface="Wingdings" pitchFamily="2" charset="2"/>
              <a:buChar char="§"/>
              <a:defRPr/>
            </a:lvl4pPr>
            <a:lvl5pPr marL="1221750" indent="-285750">
              <a:buClr>
                <a:schemeClr val="bg1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  <a:p>
            <a:pPr lvl="0"/>
            <a:endParaRPr lang="nb-NO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19DA5F9-B1CE-4C4C-BEA8-E9B016028932}"/>
              </a:ext>
            </a:extLst>
          </p:cNvPr>
          <p:cNvGrpSpPr/>
          <p:nvPr userDrawn="1"/>
        </p:nvGrpSpPr>
        <p:grpSpPr>
          <a:xfrm>
            <a:off x="11583006" y="179995"/>
            <a:ext cx="428994" cy="428994"/>
            <a:chOff x="11583006" y="179995"/>
            <a:chExt cx="428994" cy="428994"/>
          </a:xfrm>
        </p:grpSpPr>
        <p:sp>
          <p:nvSpPr>
            <p:cNvPr id="12" name="Rektangel 7">
              <a:extLst>
                <a:ext uri="{FF2B5EF4-FFF2-40B4-BE49-F238E27FC236}">
                  <a16:creationId xmlns:a16="http://schemas.microsoft.com/office/drawing/2014/main" id="{C330A23C-BBB1-4545-915D-EDEF68D58C5E}"/>
                </a:ext>
              </a:extLst>
            </p:cNvPr>
            <p:cNvSpPr/>
            <p:nvPr/>
          </p:nvSpPr>
          <p:spPr>
            <a:xfrm>
              <a:off x="11583006" y="179995"/>
              <a:ext cx="428994" cy="42899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3" name="Grafikk 8">
              <a:extLst>
                <a:ext uri="{FF2B5EF4-FFF2-40B4-BE49-F238E27FC236}">
                  <a16:creationId xmlns:a16="http://schemas.microsoft.com/office/drawing/2014/main" id="{F59F8C9A-BC69-4A4C-AA6A-E52B159AAF4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583006" y="179995"/>
              <a:ext cx="428994" cy="4289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63690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6">
          <p15:clr>
            <a:srgbClr val="FBAE40"/>
          </p15:clr>
        </p15:guide>
        <p15:guide id="2" orient="horz" pos="339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tort bilde gr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e">
            <a:extLst>
              <a:ext uri="{FF2B5EF4-FFF2-40B4-BE49-F238E27FC236}">
                <a16:creationId xmlns:a16="http://schemas.microsoft.com/office/drawing/2014/main" id="{70C5FD86-6FDB-C641-B847-0B378C3B4E1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4615200" cy="6858001"/>
          </a:xfrm>
          <a:solidFill>
            <a:schemeClr val="bg2"/>
          </a:solidFill>
        </p:spPr>
        <p:txBody>
          <a:bodyPr lIns="720000" tIns="720000" rIns="720000" bIns="720000"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9C8A02EF-6CF4-6F4B-8683-956759D41FB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5197" y="631507"/>
            <a:ext cx="6138003" cy="5508943"/>
          </a:xfrm>
          <a:noFill/>
        </p:spPr>
        <p:txBody>
          <a:bodyPr lIns="0" tIns="0" rIns="0" bIns="0"/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0" indent="-285750">
              <a:buClr>
                <a:schemeClr val="accent1"/>
              </a:buClr>
              <a:buFont typeface="Wingdings" pitchFamily="2" charset="2"/>
              <a:buChar char="§"/>
              <a:defRPr sz="3000">
                <a:solidFill>
                  <a:schemeClr val="bg1"/>
                </a:solidFill>
              </a:defRPr>
            </a:lvl2pPr>
            <a:lvl3pPr marL="753750" indent="-285750"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3pPr>
            <a:lvl4pPr marL="987750" indent="-285750"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4pPr>
            <a:lvl5pPr marL="1221750" indent="-285750"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  <a:p>
            <a:pPr lvl="0"/>
            <a:endParaRPr lang="nb-NO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C3B1896-3B6C-4EA7-9243-326DFD0B79B0}"/>
              </a:ext>
            </a:extLst>
          </p:cNvPr>
          <p:cNvGrpSpPr/>
          <p:nvPr userDrawn="1"/>
        </p:nvGrpSpPr>
        <p:grpSpPr>
          <a:xfrm>
            <a:off x="11583006" y="179995"/>
            <a:ext cx="428994" cy="428994"/>
            <a:chOff x="11583006" y="179995"/>
            <a:chExt cx="428994" cy="428994"/>
          </a:xfrm>
        </p:grpSpPr>
        <p:sp>
          <p:nvSpPr>
            <p:cNvPr id="12" name="Rektangel 7">
              <a:extLst>
                <a:ext uri="{FF2B5EF4-FFF2-40B4-BE49-F238E27FC236}">
                  <a16:creationId xmlns:a16="http://schemas.microsoft.com/office/drawing/2014/main" id="{6D0896E2-3CBB-4E2D-B654-243D983AE8F6}"/>
                </a:ext>
              </a:extLst>
            </p:cNvPr>
            <p:cNvSpPr/>
            <p:nvPr/>
          </p:nvSpPr>
          <p:spPr>
            <a:xfrm>
              <a:off x="11583006" y="179995"/>
              <a:ext cx="428994" cy="42899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3" name="Grafikk 8">
              <a:extLst>
                <a:ext uri="{FF2B5EF4-FFF2-40B4-BE49-F238E27FC236}">
                  <a16:creationId xmlns:a16="http://schemas.microsoft.com/office/drawing/2014/main" id="{EB80E5C2-7607-4FC0-96FF-BBE062D334C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583006" y="179995"/>
              <a:ext cx="428994" cy="4289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2572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6">
          <p15:clr>
            <a:srgbClr val="FBAE40"/>
          </p15:clr>
        </p15:guide>
        <p15:guide id="2" orient="horz" pos="339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tort 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e">
            <a:extLst>
              <a:ext uri="{FF2B5EF4-FFF2-40B4-BE49-F238E27FC236}">
                <a16:creationId xmlns:a16="http://schemas.microsoft.com/office/drawing/2014/main" id="{70C5FD86-6FDB-C641-B847-0B378C3B4E1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4615200" cy="6858001"/>
          </a:xfrm>
          <a:solidFill>
            <a:schemeClr val="bg2"/>
          </a:solidFill>
        </p:spPr>
        <p:txBody>
          <a:bodyPr lIns="720000" tIns="720000" rIns="720000" bIns="720000"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9C8A02EF-6CF4-6F4B-8683-956759D41FB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5197" y="631504"/>
            <a:ext cx="6138003" cy="5508946"/>
          </a:xfrm>
          <a:noFill/>
        </p:spPr>
        <p:txBody>
          <a:bodyPr lIns="0" tIns="0" rIns="0" bIns="0"/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  <a:lvl2pPr marL="0" indent="-285750">
              <a:buClr>
                <a:schemeClr val="accent1"/>
              </a:buClr>
              <a:buFont typeface="Wingdings" pitchFamily="2" charset="2"/>
              <a:buChar char="§"/>
              <a:defRPr sz="3000">
                <a:solidFill>
                  <a:schemeClr val="tx2"/>
                </a:solidFill>
              </a:defRPr>
            </a:lvl2pPr>
            <a:lvl3pPr marL="753750" indent="-285750"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3pPr>
            <a:lvl4pPr marL="987750" indent="-285750"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4pPr>
            <a:lvl5pPr marL="1221750" indent="-285750"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  <a:p>
            <a:pPr lvl="0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48462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6">
          <p15:clr>
            <a:srgbClr val="FBAE40"/>
          </p15:clr>
        </p15:guide>
        <p15:guide id="2" orient="horz" pos="339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ekstra 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>
            <a:extLst>
              <a:ext uri="{FF2B5EF4-FFF2-40B4-BE49-F238E27FC236}">
                <a16:creationId xmlns:a16="http://schemas.microsoft.com/office/drawing/2014/main" id="{57015357-85D6-2F4D-9803-D74731F4B554}"/>
              </a:ext>
            </a:extLst>
          </p:cNvPr>
          <p:cNvSpPr/>
          <p:nvPr/>
        </p:nvSpPr>
        <p:spPr>
          <a:xfrm flipV="1">
            <a:off x="0" y="4623597"/>
            <a:ext cx="4615200" cy="22344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C2ADE2A-446E-F44D-8B0C-69B38F62E15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0" y="0"/>
            <a:ext cx="4615201" cy="4623597"/>
          </a:xfrm>
          <a:solidFill>
            <a:schemeClr val="accent1"/>
          </a:solidFill>
        </p:spPr>
        <p:txBody>
          <a:bodyPr lIns="720000" tIns="612000" rIns="360000" bIns="180000"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5613402-9B9E-8B49-8A1C-573C429B4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F9809E6-B518-3F4B-B80A-00A1D6FE6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F6EC21E-B709-FC48-9BBF-7B55CC7A9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33F41770-945A-4DA5-B660-2640DF1B07E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15200" y="0"/>
            <a:ext cx="7576799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EDFF82F-89BD-4F3B-86D8-F4F625C663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04873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 + tekst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39725" y="274639"/>
            <a:ext cx="6560456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943872" y="1600201"/>
            <a:ext cx="6536928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4" name="Plassholder for innhold 19" descr="Et bilde som inneholder utendørs&#10;&#10;Automatisk generert beskrivelse">
            <a:extLst>
              <a:ext uri="{FF2B5EF4-FFF2-40B4-BE49-F238E27FC236}">
                <a16:creationId xmlns:a16="http://schemas.microsoft.com/office/drawing/2014/main" id="{3DCDAD98-616C-432A-A601-C064F4D9EB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9" r="12639" b="2"/>
          <a:stretch/>
        </p:blipFill>
        <p:spPr>
          <a:xfrm>
            <a:off x="20" y="10"/>
            <a:ext cx="4632138" cy="6852918"/>
          </a:xfrm>
          <a:prstGeom prst="rect">
            <a:avLst/>
          </a:prstGeom>
          <a:effectLst/>
        </p:spPr>
      </p:pic>
      <p:pic>
        <p:nvPicPr>
          <p:cNvPr id="6" name="Graphic 2">
            <a:extLst>
              <a:ext uri="{FF2B5EF4-FFF2-40B4-BE49-F238E27FC236}">
                <a16:creationId xmlns:a16="http://schemas.microsoft.com/office/drawing/2014/main" id="{1C234669-2B02-4451-83F1-60EA222450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0074" y="6343650"/>
            <a:ext cx="1022492" cy="297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65460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retningsområde oversi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6078D4F-24E1-45DC-AF3E-72B1320B2E0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8318" y="1490620"/>
            <a:ext cx="6817544" cy="2225718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17923C95-5232-49E2-9B90-AE0FBB8C873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859712" y="0"/>
            <a:ext cx="4332287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EEFF43DD-29C4-48EB-A301-08F156D422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DB71233F-273F-2249-859F-5DB684D79D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E79986B2-782D-D845-A6ED-76A4CEBEB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B8EC9E5-5DAB-654D-915A-C117D714C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3" name="Tittel 1">
            <a:extLst>
              <a:ext uri="{FF2B5EF4-FFF2-40B4-BE49-F238E27FC236}">
                <a16:creationId xmlns:a16="http://schemas.microsoft.com/office/drawing/2014/main" id="{D0C8F9BB-63F8-403B-ACB8-EACF13C91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631506"/>
            <a:ext cx="6824870" cy="443239"/>
          </a:xfrm>
        </p:spPr>
        <p:txBody>
          <a:bodyPr/>
          <a:lstStyle/>
          <a:p>
            <a:r>
              <a:rPr lang="nb-NO" noProof="0"/>
              <a:t>Klikk for å redigere tittelstil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5C991654-97B8-4A40-98B8-0A3C94456A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0000" y="4068000"/>
            <a:ext cx="3131805" cy="2114640"/>
          </a:xfrm>
          <a:solidFill>
            <a:schemeClr val="bg1"/>
          </a:solidFill>
        </p:spPr>
        <p:txBody>
          <a:bodyPr tIns="0" spcCol="288000">
            <a:noAutofit/>
          </a:bodyPr>
          <a:lstStyle>
            <a:lvl1pPr>
              <a:spcBef>
                <a:spcPts val="800"/>
              </a:spcBef>
              <a:defRPr sz="14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1" name="Plassholder for tekst 13">
            <a:extLst>
              <a:ext uri="{FF2B5EF4-FFF2-40B4-BE49-F238E27FC236}">
                <a16:creationId xmlns:a16="http://schemas.microsoft.com/office/drawing/2014/main" id="{3A4EE8F5-B857-4899-A05D-E634D0FE55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 noProof="0"/>
              <a:t>Stikktittel</a:t>
            </a:r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936FE630-4E4F-4E04-98BE-CB29AD01C050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32581" y="2164404"/>
            <a:ext cx="1925145" cy="1391596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203208DA-9EBB-46A3-ACEA-0E99EE20DFF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9185" y="1648959"/>
            <a:ext cx="1908541" cy="439511"/>
          </a:xfrm>
        </p:spPr>
        <p:txBody>
          <a:bodyPr>
            <a:noAutofit/>
          </a:bodyPr>
          <a:lstStyle>
            <a:lvl1pPr marL="0" indent="0">
              <a:buNone/>
              <a:defRPr sz="1400" b="1"/>
            </a:lvl1pPr>
            <a:lvl2pPr marL="234000" indent="0">
              <a:buNone/>
              <a:defRPr/>
            </a:lvl2pPr>
            <a:lvl3pPr marL="468000" indent="0">
              <a:buNone/>
              <a:defRPr/>
            </a:lvl3pPr>
            <a:lvl4pPr marL="702000" indent="0">
              <a:buNone/>
              <a:defRPr/>
            </a:lvl4pPr>
            <a:lvl5pPr marL="936000" indent="0">
              <a:buNone/>
              <a:defRPr/>
            </a:lvl5pPr>
          </a:lstStyle>
          <a:p>
            <a:pPr lvl="0"/>
            <a:r>
              <a:rPr lang="en-US" err="1"/>
              <a:t>Omsetning</a:t>
            </a:r>
            <a:r>
              <a:rPr lang="en-US"/>
              <a:t> </a:t>
            </a:r>
            <a:r>
              <a:rPr lang="en-US" err="1"/>
              <a:t>og</a:t>
            </a:r>
            <a:r>
              <a:rPr lang="en-US"/>
              <a:t> margin (YTD)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337D6017-FC66-4EB8-8A5C-C0DBF353ACF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04058" y="4068000"/>
            <a:ext cx="3131805" cy="2114640"/>
          </a:xfrm>
          <a:solidFill>
            <a:schemeClr val="bg1"/>
          </a:solidFill>
        </p:spPr>
        <p:txBody>
          <a:bodyPr tIns="0" spcCol="288000">
            <a:noAutofit/>
          </a:bodyPr>
          <a:lstStyle>
            <a:lvl1pPr>
              <a:spcBef>
                <a:spcPts val="800"/>
              </a:spcBef>
              <a:defRPr sz="14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7" name="Content Placeholder 7">
            <a:extLst>
              <a:ext uri="{FF2B5EF4-FFF2-40B4-BE49-F238E27FC236}">
                <a16:creationId xmlns:a16="http://schemas.microsoft.com/office/drawing/2014/main" id="{C588458D-14BC-4716-89F5-02A39D393D26}"/>
              </a:ext>
            </a:extLst>
          </p:cNvPr>
          <p:cNvSpPr>
            <a:spLocks noGrp="1"/>
          </p:cNvSpPr>
          <p:nvPr userDrawn="1">
            <p:ph sz="quarter" idx="28" hasCustomPrompt="1"/>
          </p:nvPr>
        </p:nvSpPr>
        <p:spPr>
          <a:xfrm>
            <a:off x="3207948" y="2164404"/>
            <a:ext cx="1925145" cy="1391596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1A0A1AC4-FC30-4D86-A263-07D8A7FAE303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224552" y="1648959"/>
            <a:ext cx="1908541" cy="439511"/>
          </a:xfrm>
        </p:spPr>
        <p:txBody>
          <a:bodyPr>
            <a:noAutofit/>
          </a:bodyPr>
          <a:lstStyle>
            <a:lvl1pPr marL="0" indent="0">
              <a:buNone/>
              <a:defRPr sz="1400" b="1"/>
            </a:lvl1pPr>
            <a:lvl2pPr marL="234000" indent="0">
              <a:buNone/>
              <a:defRPr/>
            </a:lvl2pPr>
            <a:lvl3pPr marL="468000" indent="0">
              <a:buNone/>
              <a:defRPr/>
            </a:lvl3pPr>
            <a:lvl4pPr marL="702000" indent="0">
              <a:buNone/>
              <a:defRPr/>
            </a:lvl4pPr>
            <a:lvl5pPr marL="936000" indent="0">
              <a:buNone/>
              <a:defRPr/>
            </a:lvl5pPr>
          </a:lstStyle>
          <a:p>
            <a:pPr lvl="0"/>
            <a:r>
              <a:rPr lang="en-US" err="1"/>
              <a:t>Omsetning</a:t>
            </a:r>
            <a:r>
              <a:rPr lang="en-US"/>
              <a:t> </a:t>
            </a:r>
            <a:r>
              <a:rPr lang="en-US" err="1"/>
              <a:t>og</a:t>
            </a:r>
            <a:r>
              <a:rPr lang="en-US"/>
              <a:t> margin (YTD)</a:t>
            </a:r>
          </a:p>
        </p:txBody>
      </p:sp>
      <p:sp>
        <p:nvSpPr>
          <p:cNvPr id="32" name="Content Placeholder 7">
            <a:extLst>
              <a:ext uri="{FF2B5EF4-FFF2-40B4-BE49-F238E27FC236}">
                <a16:creationId xmlns:a16="http://schemas.microsoft.com/office/drawing/2014/main" id="{99F3D800-473B-43F2-BA95-71048FE88223}"/>
              </a:ext>
            </a:extLst>
          </p:cNvPr>
          <p:cNvSpPr>
            <a:spLocks noGrp="1"/>
          </p:cNvSpPr>
          <p:nvPr userDrawn="1">
            <p:ph sz="quarter" idx="30" hasCustomPrompt="1"/>
          </p:nvPr>
        </p:nvSpPr>
        <p:spPr>
          <a:xfrm>
            <a:off x="5483315" y="2164404"/>
            <a:ext cx="1925145" cy="1391596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633B0C33-2C2C-42CE-BF90-ADCEE173993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499919" y="1648959"/>
            <a:ext cx="1908541" cy="439511"/>
          </a:xfrm>
        </p:spPr>
        <p:txBody>
          <a:bodyPr>
            <a:noAutofit/>
          </a:bodyPr>
          <a:lstStyle>
            <a:lvl1pPr marL="0" indent="0">
              <a:buNone/>
              <a:defRPr sz="1400" b="1"/>
            </a:lvl1pPr>
            <a:lvl2pPr marL="234000" indent="0">
              <a:buNone/>
              <a:defRPr/>
            </a:lvl2pPr>
            <a:lvl3pPr marL="468000" indent="0">
              <a:buNone/>
              <a:defRPr/>
            </a:lvl3pPr>
            <a:lvl4pPr marL="702000" indent="0">
              <a:buNone/>
              <a:defRPr/>
            </a:lvl4pPr>
            <a:lvl5pPr marL="936000" indent="0">
              <a:buNone/>
              <a:defRPr/>
            </a:lvl5pPr>
          </a:lstStyle>
          <a:p>
            <a:pPr lvl="0"/>
            <a:r>
              <a:rPr lang="en-US" err="1"/>
              <a:t>Omsetning</a:t>
            </a:r>
            <a:r>
              <a:rPr lang="en-US"/>
              <a:t> </a:t>
            </a:r>
            <a:r>
              <a:rPr lang="en-US" err="1"/>
              <a:t>og</a:t>
            </a:r>
            <a:r>
              <a:rPr lang="en-US"/>
              <a:t> margin (YTD)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9C417919-7009-4E89-B609-1ACFC17954F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60051" y="1667608"/>
            <a:ext cx="18000" cy="1890000"/>
          </a:xfr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528387FD-DDB7-47FB-A70F-BA0B8E4B75E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993240" y="1667608"/>
            <a:ext cx="18000" cy="1890000"/>
          </a:xfr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B1803A5F-25FB-40A1-AA0C-D33C1B061CB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118931" y="4025810"/>
            <a:ext cx="18000" cy="2113200"/>
          </a:xfr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053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1973">
          <p15:clr>
            <a:srgbClr val="FBAE40"/>
          </p15:clr>
        </p15:guide>
        <p15:guide id="8" orient="horz" pos="2341">
          <p15:clr>
            <a:srgbClr val="FBAE40"/>
          </p15:clr>
        </p15:guide>
        <p15:guide id="9" pos="4951">
          <p15:clr>
            <a:srgbClr val="FBAE40"/>
          </p15:clr>
        </p15:guide>
        <p15:guide id="10" pos="4747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ns/kvar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0C6E83D-2976-4960-945E-52C9930C115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8318" y="1490620"/>
            <a:ext cx="6817544" cy="2225718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17923C95-5232-49E2-9B90-AE0FBB8C873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859712" y="0"/>
            <a:ext cx="4332287" cy="6858000"/>
          </a:xfrm>
          <a:solidFill>
            <a:schemeClr val="bg2"/>
          </a:solidFill>
        </p:spPr>
        <p:txBody>
          <a:bodyPr lIns="720000" tIns="720000" rIns="720000" bIns="720000" anchor="ctr" anchorCtr="0">
            <a:noAutofit/>
          </a:bodyPr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EEFF43DD-29C4-48EB-A301-08F156D422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BB3DACF-FED6-4168-8A90-A42D22B1BB6E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897796" y="1673225"/>
            <a:ext cx="6425342" cy="1860550"/>
          </a:xfrm>
        </p:spPr>
        <p:txBody>
          <a:bodyPr>
            <a:noAutofit/>
          </a:bodyPr>
          <a:lstStyle/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DB71233F-273F-2249-859F-5DB684D79D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E79986B2-782D-D845-A6ED-76A4CEBEB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B8EC9E5-5DAB-654D-915A-C117D714C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3" name="Tittel 1">
            <a:extLst>
              <a:ext uri="{FF2B5EF4-FFF2-40B4-BE49-F238E27FC236}">
                <a16:creationId xmlns:a16="http://schemas.microsoft.com/office/drawing/2014/main" id="{D0C8F9BB-63F8-403B-ACB8-EACF13C91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631506"/>
            <a:ext cx="6824870" cy="443239"/>
          </a:xfrm>
        </p:spPr>
        <p:txBody>
          <a:bodyPr/>
          <a:lstStyle/>
          <a:p>
            <a:r>
              <a:rPr lang="nb-NO" noProof="0"/>
              <a:t>Klikk for å redigere tittelstil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5C991654-97B8-4A40-98B8-0A3C94456A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0000" y="4038601"/>
            <a:ext cx="6818400" cy="2130068"/>
          </a:xfrm>
          <a:solidFill>
            <a:schemeClr val="bg1"/>
          </a:solidFill>
        </p:spPr>
        <p:txBody>
          <a:bodyPr tIns="0" spcCol="288000">
            <a:noAutofit/>
          </a:bodyPr>
          <a:lstStyle>
            <a:lvl1pPr>
              <a:spcBef>
                <a:spcPts val="1000"/>
              </a:spcBef>
              <a:defRPr sz="1600"/>
            </a:lvl1pPr>
            <a:lvl2pPr>
              <a:spcBef>
                <a:spcPts val="400"/>
              </a:spcBef>
              <a:defRPr sz="1400"/>
            </a:lvl2pPr>
            <a:lvl3pPr>
              <a:spcBef>
                <a:spcPts val="400"/>
              </a:spcBef>
              <a:defRPr sz="1400"/>
            </a:lvl3pPr>
            <a:lvl4pPr>
              <a:spcBef>
                <a:spcPts val="400"/>
              </a:spcBef>
              <a:defRPr sz="1400"/>
            </a:lvl4pPr>
            <a:lvl5pPr>
              <a:spcBef>
                <a:spcPts val="400"/>
              </a:spcBef>
              <a:defRPr sz="1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1" name="Plassholder for tekst 13">
            <a:extLst>
              <a:ext uri="{FF2B5EF4-FFF2-40B4-BE49-F238E27FC236}">
                <a16:creationId xmlns:a16="http://schemas.microsoft.com/office/drawing/2014/main" id="{3A4EE8F5-B857-4899-A05D-E634D0FE55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 noProof="0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583317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1973">
          <p15:clr>
            <a:srgbClr val="FBAE40"/>
          </p15:clr>
        </p15:guide>
        <p15:guide id="8" orient="horz" pos="2341">
          <p15:clr>
            <a:srgbClr val="FBAE40"/>
          </p15:clr>
        </p15:guide>
        <p15:guide id="9" pos="4951">
          <p15:clr>
            <a:srgbClr val="FBAE40"/>
          </p15:clr>
        </p15:guide>
        <p15:guide id="10" pos="4747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F1B76F82-8C57-4FEB-9798-D3081461527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20000" y="1984375"/>
            <a:ext cx="5202000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3">
            <a:extLst>
              <a:ext uri="{FF2B5EF4-FFF2-40B4-BE49-F238E27FC236}">
                <a16:creationId xmlns:a16="http://schemas.microsoft.com/office/drawing/2014/main" id="{318CD61F-8F44-4985-91EF-D84166C754D9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720000" y="2556887"/>
            <a:ext cx="5202000" cy="3583563"/>
          </a:xfrm>
        </p:spPr>
        <p:txBody>
          <a:bodyPr tIns="180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7DA3F827-2223-4819-881C-BDAC45C3463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70002" y="1984375"/>
            <a:ext cx="5202000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13" name="Plassholder for innhold 3">
            <a:extLst>
              <a:ext uri="{FF2B5EF4-FFF2-40B4-BE49-F238E27FC236}">
                <a16:creationId xmlns:a16="http://schemas.microsoft.com/office/drawing/2014/main" id="{B1DA75B1-287C-4CBE-A719-0C9B3A2885D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6270002" y="2556887"/>
            <a:ext cx="5202000" cy="3583563"/>
          </a:xfrm>
        </p:spPr>
        <p:txBody>
          <a:bodyPr tIns="180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ekst 13">
            <a:extLst>
              <a:ext uri="{FF2B5EF4-FFF2-40B4-BE49-F238E27FC236}">
                <a16:creationId xmlns:a16="http://schemas.microsoft.com/office/drawing/2014/main" id="{0DD27149-AB67-4FC1-9A47-0FE22156E9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102803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ittel utfallen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D4CACC4C-CF88-4A94-8F8D-5419AED1DA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720000" tIns="720000" rIns="720000" bIns="720000" anchor="ctr" anchorCtr="0">
            <a:noAutofit/>
          </a:bodyPr>
          <a:lstStyle>
            <a:lvl1pPr marL="0" indent="0" algn="r">
              <a:buNone/>
              <a:defRPr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936471F2-7DD3-4EA4-A991-B9DED9A52AE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DB71233F-273F-2249-859F-5DB684D79D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B8EC9E5-5DAB-654D-915A-C117D714C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D5719EC7-73F3-B949-AD07-FCC43E3785AB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0" y="0"/>
            <a:ext cx="3429001" cy="1832956"/>
          </a:xfrm>
          <a:solidFill>
            <a:schemeClr val="accent1"/>
          </a:solidFill>
        </p:spPr>
        <p:txBody>
          <a:bodyPr lIns="540000" tIns="630000" rIns="360000" bIns="180000">
            <a:noAutofit/>
          </a:bodyPr>
          <a:lstStyle>
            <a:lvl1pPr>
              <a:defRPr/>
            </a:lvl1pPr>
          </a:lstStyle>
          <a:p>
            <a:r>
              <a:rPr lang="nb-NO"/>
              <a:t>Klikk for å redigere</a:t>
            </a:r>
          </a:p>
        </p:txBody>
      </p:sp>
      <p:sp>
        <p:nvSpPr>
          <p:cNvPr id="9" name="Plassholder for bunntekst 5">
            <a:extLst>
              <a:ext uri="{FF2B5EF4-FFF2-40B4-BE49-F238E27FC236}">
                <a16:creationId xmlns:a16="http://schemas.microsoft.com/office/drawing/2014/main" id="{7DCFFA88-8642-4A82-9F18-4EF1055A8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9997" y="6419782"/>
            <a:ext cx="10389328" cy="187105"/>
          </a:xfrm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A6F74F68-0329-4889-8127-7853F830B8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006" y="1799705"/>
            <a:ext cx="3430007" cy="1629296"/>
          </a:xfrm>
          <a:solidFill>
            <a:schemeClr val="accent1"/>
          </a:solidFill>
        </p:spPr>
        <p:txBody>
          <a:bodyPr lIns="540000" rIns="360000" bIns="180000">
            <a:noAutofit/>
          </a:bodyPr>
          <a:lstStyle>
            <a:lvl1pPr marL="180975" indent="-180975">
              <a:spcBef>
                <a:spcPts val="600"/>
              </a:spcBef>
              <a:buClr>
                <a:schemeClr val="bg1"/>
              </a:buClr>
              <a:defRPr sz="15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09289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ittel utfallen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24425C-5A00-42E2-8742-3B49EF4AD3F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720000" tIns="720000" rIns="720000" bIns="720000" anchor="ctr" anchorCtr="0">
            <a:noAutofit/>
          </a:bodyPr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3438023-DDDF-4C39-84C9-218280072A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DB71233F-273F-2249-859F-5DB684D79D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B8EC9E5-5DAB-654D-915A-C117D714C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3" name="Tittel 4">
            <a:extLst>
              <a:ext uri="{FF2B5EF4-FFF2-40B4-BE49-F238E27FC236}">
                <a16:creationId xmlns:a16="http://schemas.microsoft.com/office/drawing/2014/main" id="{83E66060-A9E2-4242-81B3-A55F57BCA92D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0" y="3428999"/>
            <a:ext cx="3429001" cy="1713546"/>
          </a:xfrm>
          <a:solidFill>
            <a:schemeClr val="accent1"/>
          </a:solidFill>
        </p:spPr>
        <p:txBody>
          <a:bodyPr lIns="540000" tIns="504000" rIns="360000" bIns="180000">
            <a:noAutofit/>
          </a:bodyPr>
          <a:lstStyle>
            <a:lvl1pPr>
              <a:defRPr/>
            </a:lvl1pPr>
          </a:lstStyle>
          <a:p>
            <a:r>
              <a:rPr lang="nb-NO" noProof="0"/>
              <a:t>Klikk for å redige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E5F1FCD-3438-4BDC-B3DF-9EECFFE3026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006" y="5112324"/>
            <a:ext cx="3430007" cy="1745675"/>
          </a:xfrm>
          <a:solidFill>
            <a:schemeClr val="accent1"/>
          </a:solidFill>
        </p:spPr>
        <p:txBody>
          <a:bodyPr lIns="540000" rIns="360000" bIns="180000">
            <a:noAutofit/>
          </a:bodyPr>
          <a:lstStyle>
            <a:lvl1pPr marL="180975" indent="-180975">
              <a:spcBef>
                <a:spcPts val="600"/>
              </a:spcBef>
              <a:buClr>
                <a:schemeClr val="bg1"/>
              </a:buClr>
              <a:defRPr sz="15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235775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ittel utfallen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e">
            <a:extLst>
              <a:ext uri="{FF2B5EF4-FFF2-40B4-BE49-F238E27FC236}">
                <a16:creationId xmlns:a16="http://schemas.microsoft.com/office/drawing/2014/main" id="{380286EB-9435-4F0E-BF31-DB3824A5F96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720000" tIns="720000" rIns="720000" bIns="720000" anchor="ctr" anchorCtr="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nb-NO" noProof="0"/>
              <a:t>Klikk på ikonet for å legge til et bild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10D69F0-E13B-4E7B-8601-664B3F69C6D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DB71233F-273F-2249-859F-5DB684D79D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r>
              <a:rPr lang="en-US" noProof="0"/>
              <a:t>25.06.2021</a:t>
            </a:r>
            <a:endParaRPr lang="nb-NO" noProof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B8EC9E5-5DAB-654D-915A-C117D714C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fld id="{6FC27C0E-69D6-2140-BAEC-594D114B0964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9" name="Plassholder for bunntekst 5">
            <a:extLst>
              <a:ext uri="{FF2B5EF4-FFF2-40B4-BE49-F238E27FC236}">
                <a16:creationId xmlns:a16="http://schemas.microsoft.com/office/drawing/2014/main" id="{B8B17DE3-49BE-48A1-9380-F633CC374F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9997" y="6419782"/>
            <a:ext cx="10389328" cy="187105"/>
          </a:xfrm>
        </p:spPr>
        <p:txBody>
          <a:bodyPr/>
          <a:lstStyle>
            <a:lvl1pPr>
              <a:defRPr b="0" i="0">
                <a:latin typeface="+mj-lt"/>
              </a:defRPr>
            </a:lvl1pPr>
          </a:lstStyle>
          <a:p>
            <a:endParaRPr lang="nb-NO"/>
          </a:p>
        </p:txBody>
      </p:sp>
      <p:sp>
        <p:nvSpPr>
          <p:cNvPr id="12" name="Tittel 4">
            <a:extLst>
              <a:ext uri="{FF2B5EF4-FFF2-40B4-BE49-F238E27FC236}">
                <a16:creationId xmlns:a16="http://schemas.microsoft.com/office/drawing/2014/main" id="{E6D7E407-65E5-420F-9EA6-EE521CE9CB68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8762999" y="3428999"/>
            <a:ext cx="3429001" cy="1713546"/>
          </a:xfrm>
          <a:solidFill>
            <a:schemeClr val="accent1"/>
          </a:solidFill>
        </p:spPr>
        <p:txBody>
          <a:bodyPr lIns="540000" tIns="504000" rIns="540000" bIns="180000">
            <a:noAutofit/>
          </a:bodyPr>
          <a:lstStyle>
            <a:lvl1pPr>
              <a:defRPr/>
            </a:lvl1pPr>
          </a:lstStyle>
          <a:p>
            <a:r>
              <a:rPr lang="nb-NO" noProof="0"/>
              <a:t>Klikk for å rediger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3E9FFFF8-1B4F-471D-849D-956E0C4EE2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761993" y="5112324"/>
            <a:ext cx="3430007" cy="1745675"/>
          </a:xfrm>
          <a:solidFill>
            <a:schemeClr val="accent1"/>
          </a:solidFill>
        </p:spPr>
        <p:txBody>
          <a:bodyPr lIns="540000" rIns="540000" bIns="180000">
            <a:noAutofit/>
          </a:bodyPr>
          <a:lstStyle>
            <a:lvl1pPr marL="180975" indent="-180975">
              <a:spcBef>
                <a:spcPts val="600"/>
              </a:spcBef>
              <a:buClr>
                <a:schemeClr val="bg1"/>
              </a:buClr>
              <a:defRPr sz="15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0421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0D16F0E-DE74-DC49-9F49-B18AE520C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C00ACBC6-1301-824B-A95D-34640778D0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55537CD-971A-0F4B-B8C5-852D412DE3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0A6B2D3C-1843-7E41-8F15-B919A5C18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tekst 13">
            <a:extLst>
              <a:ext uri="{FF2B5EF4-FFF2-40B4-BE49-F238E27FC236}">
                <a16:creationId xmlns:a16="http://schemas.microsoft.com/office/drawing/2014/main" id="{9212414C-FC9F-4EF1-8D62-DF92350C64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1153223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 gr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0D16F0E-DE74-DC49-9F49-B18AE520C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C00ACBC6-1301-824B-A95D-34640778D0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55537CD-971A-0F4B-B8C5-852D412DE3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0A6B2D3C-1843-7E41-8F15-B919A5C18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tekst 13">
            <a:extLst>
              <a:ext uri="{FF2B5EF4-FFF2-40B4-BE49-F238E27FC236}">
                <a16:creationId xmlns:a16="http://schemas.microsoft.com/office/drawing/2014/main" id="{F35BF3F8-547C-4AFA-91BA-24A0E0459F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1590177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e">
            <a:extLst>
              <a:ext uri="{FF2B5EF4-FFF2-40B4-BE49-F238E27FC236}">
                <a16:creationId xmlns:a16="http://schemas.microsoft.com/office/drawing/2014/main" id="{040660A8-334E-4B67-BD09-CF682ACC9DC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>
              <a:buNone/>
              <a:defRPr/>
            </a:lvl1pPr>
          </a:lstStyle>
          <a:p>
            <a:r>
              <a:rPr lang="nb-NO" noProof="0"/>
              <a:t>Klikk på ikonet for å legge til et bild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3AA496-E2E6-47FB-96FC-D1A21672FB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0D16F0E-DE74-DC49-9F49-B18AE520C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C00ACBC6-1301-824B-A95D-34640778D0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55537CD-971A-0F4B-B8C5-852D412DE3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0A6B2D3C-1843-7E41-8F15-B919A5C18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tekst 13">
            <a:extLst>
              <a:ext uri="{FF2B5EF4-FFF2-40B4-BE49-F238E27FC236}">
                <a16:creationId xmlns:a16="http://schemas.microsoft.com/office/drawing/2014/main" id="{9212414C-FC9F-4EF1-8D62-DF92350C64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1953402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DB71233F-273F-2249-859F-5DB684D79D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E79986B2-782D-D845-A6ED-76A4CEBEB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B8EC9E5-5DAB-654D-915A-C117D714C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95809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 + tekst -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utendørs, båt, sprinkleranlegg, fly&#10;&#10;Automatisk generert beskrivelse">
            <a:extLst>
              <a:ext uri="{FF2B5EF4-FFF2-40B4-BE49-F238E27FC236}">
                <a16:creationId xmlns:a16="http://schemas.microsoft.com/office/drawing/2014/main" id="{C4E37067-7505-4371-A458-00087D5D35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71" r="28171"/>
          <a:stretch/>
        </p:blipFill>
        <p:spPr>
          <a:xfrm>
            <a:off x="0" y="0"/>
            <a:ext cx="4664364" cy="6858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39725" y="274639"/>
            <a:ext cx="6560456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943872" y="1600201"/>
            <a:ext cx="6536928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7" name="Graphic 2">
            <a:extLst>
              <a:ext uri="{FF2B5EF4-FFF2-40B4-BE49-F238E27FC236}">
                <a16:creationId xmlns:a16="http://schemas.microsoft.com/office/drawing/2014/main" id="{ED13A784-5A76-45E7-9CD3-6931F68573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0074" y="6343650"/>
            <a:ext cx="1022492" cy="297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38786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nimer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_logo_B_white_H264" descr="AF_logo_B_white_H264">
            <a:hlinkClick r:id="" action="ppaction://media"/>
            <a:extLst>
              <a:ext uri="{FF2B5EF4-FFF2-40B4-BE49-F238E27FC236}">
                <a16:creationId xmlns:a16="http://schemas.microsoft.com/office/drawing/2014/main" id="{22CA2B59-F854-4E67-A582-D14777CBB0DD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-487" t="-1017" r="-487" b="-1017"/>
          <a:stretch/>
        </p:blipFill>
        <p:spPr>
          <a:xfrm>
            <a:off x="-59410" y="-69742"/>
            <a:ext cx="12310820" cy="6997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374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07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65F2222-B873-4A64-9B07-AC4BAF3F12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9FC0E9D7-EFC2-4821-A41E-CC5853E6EE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8292188-327C-4A61-A643-F7FE7925AA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CB669-99CD-486C-B059-2700A68F9915}" type="datetimeFigureOut">
              <a:rPr lang="nb-NO" smtClean="0"/>
              <a:t>10.05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1DD57728-AECE-4724-84FF-D6BAF2D47C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DD67DE6-1CF5-4F7E-8F37-6D04A79574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AC018-2664-4239-9308-CBB30768A2F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18679335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26063E9-A62F-4179-86BE-2AB057EB90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D57E03D-D1A1-48E9-BDFB-A22B329A10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3B9069F-9869-4A4B-B011-B89E34C8AB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CB669-99CD-486C-B059-2700A68F9915}" type="datetimeFigureOut">
              <a:rPr lang="nb-NO" smtClean="0"/>
              <a:t>10.05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87A0AD1-9450-48B7-A631-5CB454FA5C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7F79B37-6FDE-44CA-997B-E7663AA01F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AC018-2664-4239-9308-CBB30768A2F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0050508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B75F5BF-424B-4EC8-84AD-B4751F366F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4DC72217-964A-4596-A6AE-344B97AC45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FAA575E-6A19-41D1-BF5A-48990F02C5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CB669-99CD-486C-B059-2700A68F9915}" type="datetimeFigureOut">
              <a:rPr lang="nb-NO" smtClean="0"/>
              <a:t>10.05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C0916C8C-0D21-4C29-9709-9F86F9F7F2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84D6D16-D130-4029-88AB-61A8179F4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AC018-2664-4239-9308-CBB30768A2F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6031884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531559A-892B-4E8D-AF9F-36CBD4AEEB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DD27C0B-6707-4FE3-A98C-DC1E469553B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43D4FEF0-0CDC-4C62-A410-7B929D0E73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D4FA6CBE-9853-4E5C-BAB0-D92F8BAAA5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CB669-99CD-486C-B059-2700A68F9915}" type="datetimeFigureOut">
              <a:rPr lang="nb-NO" smtClean="0"/>
              <a:t>10.05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A013AADE-185D-42F8-9691-BE9AECA75A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ED91D72-A3AA-4DD0-A19F-B86AF1F5B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AC018-2664-4239-9308-CBB30768A2F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0173073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4E1D6D8-6534-40FD-B7DF-DD009A3B0C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4680A38A-2CFA-417A-B51C-110BF6277C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9764613B-CA9E-4E75-8ADF-FD2567E81A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D210A540-C251-45C2-BAEF-AB9059BDD8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9E0D3F90-04CB-4937-A161-C194022A2FD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C77C8CA5-F18E-48D1-B02B-7A6B1BC17B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CB669-99CD-486C-B059-2700A68F9915}" type="datetimeFigureOut">
              <a:rPr lang="nb-NO" smtClean="0"/>
              <a:t>10.05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69A5D565-EBD9-4384-9E7E-7D595419BE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F7F36F40-F33E-4971-9F56-F19BC4A59F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AC018-2664-4239-9308-CBB30768A2F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2620872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401E460-9178-4F4A-8673-7EFE660E0B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08AB9635-2E0A-4252-8923-07B2CC6F5F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CB669-99CD-486C-B059-2700A68F9915}" type="datetimeFigureOut">
              <a:rPr lang="nb-NO" smtClean="0"/>
              <a:t>10.05.2023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F2AC1794-87FC-4875-B703-D5227D2237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3105DB5B-77EF-43FF-8DBD-CCBBBB70F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AC018-2664-4239-9308-CBB30768A2F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3002913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7147CBF-5F30-43CF-8A38-A492A9F1B4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CB669-99CD-486C-B059-2700A68F9915}" type="datetimeFigureOut">
              <a:rPr lang="nb-NO" smtClean="0"/>
              <a:t>10.05.2023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2AA2210D-C973-4653-B318-51BF33226F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AFE2AEAB-D735-4971-B3BF-85B4712B10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AC018-2664-4239-9308-CBB30768A2F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46279080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43EEA75-B133-488F-8B3B-86AC90E2DA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AED26A5-D99C-4189-B4BA-AAAF1B93FC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5993F47C-1056-41C4-B3A0-F870BFE5D5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DED17952-5CFB-4000-AF36-7BBF9F4DB5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CB669-99CD-486C-B059-2700A68F9915}" type="datetimeFigureOut">
              <a:rPr lang="nb-NO" smtClean="0"/>
              <a:t>10.05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8394C1BE-FB63-468A-98A6-AA1AD4C1A5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F383D0E6-8702-49FB-A112-471A59DF46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AC018-2664-4239-9308-CBB30768A2F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3218729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B3BB6DD-BFB4-4892-8559-9DF4EB383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0DB20623-13C3-47BB-80B3-EA84880DBCD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59DB3E82-0653-4523-9C89-26C474C5D9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DB02A5DF-6EED-405B-B75A-CE4D0A1642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CB669-99CD-486C-B059-2700A68F9915}" type="datetimeFigureOut">
              <a:rPr lang="nb-NO" smtClean="0"/>
              <a:t>10.05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1679D2EF-F9B6-4DF7-97D9-2534F96AEC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7B2FEEEE-3B63-4BA1-9F6E-6E0E2964F2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AC018-2664-4239-9308-CBB30768A2F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226252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+ tekst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1">
            <a:extLst>
              <a:ext uri="{FF2B5EF4-FFF2-40B4-BE49-F238E27FC236}">
                <a16:creationId xmlns:a16="http://schemas.microsoft.com/office/drawing/2014/main" id="{3B9E30B0-7286-41E4-AB29-38D9A819C23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84" t="28151" r="7124" b="10500"/>
          <a:stretch/>
        </p:blipFill>
        <p:spPr bwMode="auto">
          <a:xfrm>
            <a:off x="0" y="0"/>
            <a:ext cx="471054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39725" y="274639"/>
            <a:ext cx="6560456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943872" y="1600201"/>
            <a:ext cx="6536928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E4E8F429-805F-4F6C-916D-746CAF201E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0" y="0"/>
            <a:ext cx="4496680" cy="6858000"/>
          </a:xfrm>
          <a:noFill/>
        </p:spPr>
        <p:txBody>
          <a:bodyPr anchor="ctr">
            <a:normAutofit/>
          </a:bodyPr>
          <a:lstStyle>
            <a:lvl1pPr>
              <a:defRPr sz="2667" b="0" u="none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nb-NO" dirty="0"/>
          </a:p>
        </p:txBody>
      </p:sp>
      <p:pic>
        <p:nvPicPr>
          <p:cNvPr id="5" name="Graphic 2">
            <a:extLst>
              <a:ext uri="{FF2B5EF4-FFF2-40B4-BE49-F238E27FC236}">
                <a16:creationId xmlns:a16="http://schemas.microsoft.com/office/drawing/2014/main" id="{0FAFC9FF-7882-4405-A106-91DCA90DB4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0074" y="6343650"/>
            <a:ext cx="1022492" cy="297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75538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31F3CE4-8E86-4BF7-96BD-B52E4B794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D51A6FB1-DA0D-49B0-9216-8618640CE2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C693F86-1DB8-45E9-A98E-6AFA7501FB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CB669-99CD-486C-B059-2700A68F9915}" type="datetimeFigureOut">
              <a:rPr lang="nb-NO" smtClean="0"/>
              <a:t>10.05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31615C9-122C-4038-9742-F38EC1BDB4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91957D2-B4B5-4EB1-806A-A6E0803069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AC018-2664-4239-9308-CBB30768A2F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8658774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F4CA420D-76EE-4E43-A61A-DADD670904D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CE116EEE-E0DA-4E9F-BC1A-4F74AA1AFD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688B420-A586-46DA-BD21-60CC186E5A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CB669-99CD-486C-B059-2700A68F9915}" type="datetimeFigureOut">
              <a:rPr lang="nb-NO" smtClean="0"/>
              <a:t>10.05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E97549C-F0C2-49C5-9FA6-22BC2B0086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DFF905A-9289-4310-B879-703BBD45B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AC018-2664-4239-9308-CBB30768A2F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2484366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rmal sid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>
            <a:extLst>
              <a:ext uri="{FF2B5EF4-FFF2-40B4-BE49-F238E27FC236}">
                <a16:creationId xmlns:a16="http://schemas.microsoft.com/office/drawing/2014/main" id="{F84CB4D2-300F-46FD-A2C0-0A1B0981BF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</a:blip>
          <a:srcRect t="1" r="3015" b="-698"/>
          <a:stretch/>
        </p:blipFill>
        <p:spPr>
          <a:xfrm>
            <a:off x="0" y="0"/>
            <a:ext cx="12192000" cy="6148263"/>
          </a:xfrm>
          <a:prstGeom prst="rect">
            <a:avLst/>
          </a:prstGeom>
        </p:spPr>
      </p:pic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99797" y="1600201"/>
            <a:ext cx="10972800" cy="452596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22CD909B-F3DE-4F9A-9E9C-828F6D72F6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2323" y="6394302"/>
            <a:ext cx="860275" cy="234441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8E8CAEAF-462D-497A-833A-6B06C18EC3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797" y="274639"/>
            <a:ext cx="10972800" cy="1143000"/>
          </a:xfrm>
        </p:spPr>
        <p:txBody>
          <a:bodyPr/>
          <a:lstStyle/>
          <a:p>
            <a:r>
              <a:rPr lang="sv-SE" sz="3200">
                <a:solidFill>
                  <a:srgbClr val="84236B"/>
                </a:solidFill>
                <a:latin typeface="Arial"/>
                <a:ea typeface="+mj-ea"/>
                <a:cs typeface="Arial"/>
              </a:rPr>
              <a:t>ENMR – Mo i Rana lufthavn, Fagerlia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985625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de + tekst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39725" y="274639"/>
            <a:ext cx="6560456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943872" y="1600201"/>
            <a:ext cx="6536928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E4E8F429-805F-4F6C-916D-746CAF201E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0" y="0"/>
            <a:ext cx="4496680" cy="6858000"/>
          </a:xfrm>
          <a:noFill/>
        </p:spPr>
        <p:txBody>
          <a:bodyPr anchor="ctr">
            <a:normAutofit/>
          </a:bodyPr>
          <a:lstStyle>
            <a:lvl1pPr>
              <a:defRPr sz="2667" b="0" u="none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nb-NO" dirty="0"/>
          </a:p>
        </p:txBody>
      </p:sp>
      <p:pic>
        <p:nvPicPr>
          <p:cNvPr id="5" name="Graphic 2">
            <a:extLst>
              <a:ext uri="{FF2B5EF4-FFF2-40B4-BE49-F238E27FC236}">
                <a16:creationId xmlns:a16="http://schemas.microsoft.com/office/drawing/2014/main" id="{0FAFC9FF-7882-4405-A106-91DCA90DB4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0074" y="6343650"/>
            <a:ext cx="1022492" cy="297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9294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 + teks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C1BC2591-2BC3-4EED-AEE3-DF0B844DAA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1903"/>
          <a:stretch/>
        </p:blipFill>
        <p:spPr>
          <a:xfrm>
            <a:off x="1" y="0"/>
            <a:ext cx="4664364" cy="6858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39725" y="274639"/>
            <a:ext cx="6560456" cy="1143000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943872" y="1628776"/>
            <a:ext cx="6536928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7560941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Normal sid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9797" y="274639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99797" y="1600201"/>
            <a:ext cx="10972800" cy="452596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2067695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9797" y="274639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99797" y="1600201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274997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662179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 + tekst -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 descr="Et bilde som inneholder utendørs, himmel, fjell, natur&#10;&#10;Automatisk generert beskrivelse">
            <a:extLst>
              <a:ext uri="{FF2B5EF4-FFF2-40B4-BE49-F238E27FC236}">
                <a16:creationId xmlns:a16="http://schemas.microsoft.com/office/drawing/2014/main" id="{7C748AC6-6A32-45B7-8BBF-149D4C76F3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81523" cy="6112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4119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rmal sid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>
            <a:extLst>
              <a:ext uri="{FF2B5EF4-FFF2-40B4-BE49-F238E27FC236}">
                <a16:creationId xmlns:a16="http://schemas.microsoft.com/office/drawing/2014/main" id="{F84CB4D2-300F-46FD-A2C0-0A1B0981BF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</a:blip>
          <a:srcRect t="1" r="3015" b="-698"/>
          <a:stretch/>
        </p:blipFill>
        <p:spPr>
          <a:xfrm>
            <a:off x="0" y="0"/>
            <a:ext cx="12192000" cy="6148263"/>
          </a:xfrm>
          <a:prstGeom prst="rect">
            <a:avLst/>
          </a:prstGeom>
        </p:spPr>
      </p:pic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99797" y="1600201"/>
            <a:ext cx="10972800" cy="4525963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22CD909B-F3DE-4F9A-9E9C-828F6D72F6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2323" y="6394302"/>
            <a:ext cx="860275" cy="234441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8E8CAEAF-462D-497A-833A-6B06C18EC3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797" y="274639"/>
            <a:ext cx="10972800" cy="1143000"/>
          </a:xfrm>
        </p:spPr>
        <p:txBody>
          <a:bodyPr/>
          <a:lstStyle/>
          <a:p>
            <a:r>
              <a:rPr lang="sv-SE" sz="3200" dirty="0">
                <a:solidFill>
                  <a:srgbClr val="84236B"/>
                </a:solidFill>
                <a:latin typeface="Arial"/>
                <a:ea typeface="+mj-ea"/>
                <a:cs typeface="Arial"/>
              </a:rPr>
              <a:t>ENMR – Mo i Rana lufthavn, Fagerlia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765533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+ teks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C1BC2591-2BC3-4EED-AEE3-DF0B844DAA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1903"/>
          <a:stretch/>
        </p:blipFill>
        <p:spPr>
          <a:xfrm>
            <a:off x="0" y="0"/>
            <a:ext cx="4645891" cy="6858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39725" y="274639"/>
            <a:ext cx="6560456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943872" y="1600201"/>
            <a:ext cx="6536928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9" name="Graphic 2">
            <a:extLst>
              <a:ext uri="{FF2B5EF4-FFF2-40B4-BE49-F238E27FC236}">
                <a16:creationId xmlns:a16="http://schemas.microsoft.com/office/drawing/2014/main" id="{87013C78-D521-4462-A91E-D6CE9A1688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0074" y="6343650"/>
            <a:ext cx="1022492" cy="297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5857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 + teks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39725" y="274639"/>
            <a:ext cx="6560456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943872" y="1600201"/>
            <a:ext cx="6536928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1798AC62-7ED8-4D52-A3F6-CB60076A8E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882" b="1518"/>
          <a:stretch/>
        </p:blipFill>
        <p:spPr>
          <a:xfrm>
            <a:off x="-58280" y="1"/>
            <a:ext cx="4694935" cy="6857999"/>
          </a:xfrm>
          <a:prstGeom prst="rect">
            <a:avLst/>
          </a:prstGeom>
        </p:spPr>
      </p:pic>
      <p:pic>
        <p:nvPicPr>
          <p:cNvPr id="8" name="Graphic 2">
            <a:extLst>
              <a:ext uri="{FF2B5EF4-FFF2-40B4-BE49-F238E27FC236}">
                <a16:creationId xmlns:a16="http://schemas.microsoft.com/office/drawing/2014/main" id="{B4A23432-971B-48B4-A2D1-09A0D4B2028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0074" y="6343650"/>
            <a:ext cx="1022492" cy="297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5618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 + tekst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39725" y="274639"/>
            <a:ext cx="6560456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943872" y="1600201"/>
            <a:ext cx="6536928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6" name="Plassholder for innhold 14" descr="Et bilde som inneholder himmel, utendørs, bilvei, skyet&#10;&#10;Automatisk generert beskrivelse">
            <a:extLst>
              <a:ext uri="{FF2B5EF4-FFF2-40B4-BE49-F238E27FC236}">
                <a16:creationId xmlns:a16="http://schemas.microsoft.com/office/drawing/2014/main" id="{9F383A93-3B3C-4B73-94BA-2C81ADA9F0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92" r="6416" b="2"/>
          <a:stretch/>
        </p:blipFill>
        <p:spPr>
          <a:xfrm>
            <a:off x="27" y="13"/>
            <a:ext cx="4635564" cy="6857987"/>
          </a:xfrm>
          <a:prstGeom prst="rect">
            <a:avLst/>
          </a:prstGeom>
          <a:effectLst/>
        </p:spPr>
      </p:pic>
      <p:pic>
        <p:nvPicPr>
          <p:cNvPr id="7" name="Graphic 2">
            <a:extLst>
              <a:ext uri="{FF2B5EF4-FFF2-40B4-BE49-F238E27FC236}">
                <a16:creationId xmlns:a16="http://schemas.microsoft.com/office/drawing/2014/main" id="{DC3F1AAA-73FE-42D1-9452-6D1DAB12D38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0074" y="6343650"/>
            <a:ext cx="1022492" cy="297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5671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de + tekst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39725" y="274639"/>
            <a:ext cx="6560456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943872" y="1600201"/>
            <a:ext cx="6536928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4" name="Plassholder for innhold 19" descr="Et bilde som inneholder utendørs&#10;&#10;Automatisk generert beskrivelse">
            <a:extLst>
              <a:ext uri="{FF2B5EF4-FFF2-40B4-BE49-F238E27FC236}">
                <a16:creationId xmlns:a16="http://schemas.microsoft.com/office/drawing/2014/main" id="{3DCDAD98-616C-432A-A601-C064F4D9EB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9" r="12639" b="2"/>
          <a:stretch/>
        </p:blipFill>
        <p:spPr>
          <a:xfrm>
            <a:off x="20" y="10"/>
            <a:ext cx="4632138" cy="6852918"/>
          </a:xfrm>
          <a:prstGeom prst="rect">
            <a:avLst/>
          </a:prstGeom>
          <a:effectLst/>
        </p:spPr>
      </p:pic>
      <p:pic>
        <p:nvPicPr>
          <p:cNvPr id="6" name="Graphic 2">
            <a:extLst>
              <a:ext uri="{FF2B5EF4-FFF2-40B4-BE49-F238E27FC236}">
                <a16:creationId xmlns:a16="http://schemas.microsoft.com/office/drawing/2014/main" id="{3AA2178A-66DA-4CCA-A8AB-AD5CF465517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0074" y="6343650"/>
            <a:ext cx="1022492" cy="297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6894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+ tekst -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utendørs, båt, sprinkleranlegg, fly&#10;&#10;Automatisk generert beskrivelse">
            <a:extLst>
              <a:ext uri="{FF2B5EF4-FFF2-40B4-BE49-F238E27FC236}">
                <a16:creationId xmlns:a16="http://schemas.microsoft.com/office/drawing/2014/main" id="{C4E37067-7505-4371-A458-00087D5D35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71" r="28171"/>
          <a:stretch/>
        </p:blipFill>
        <p:spPr>
          <a:xfrm>
            <a:off x="-1" y="0"/>
            <a:ext cx="4655127" cy="6858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39725" y="274639"/>
            <a:ext cx="6560456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943872" y="1600201"/>
            <a:ext cx="6536928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Graphic 2">
            <a:extLst>
              <a:ext uri="{FF2B5EF4-FFF2-40B4-BE49-F238E27FC236}">
                <a16:creationId xmlns:a16="http://schemas.microsoft.com/office/drawing/2014/main" id="{97FCE376-0216-47ED-A01D-C2C63AD1930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0074" y="6343650"/>
            <a:ext cx="1022492" cy="297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87208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+ tekst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39725" y="274639"/>
            <a:ext cx="6560456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943872" y="1600201"/>
            <a:ext cx="6536928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9419F0CD-4C97-4664-AEE5-41D122D6D91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0" y="0"/>
            <a:ext cx="4496680" cy="6858000"/>
          </a:xfrm>
          <a:noFill/>
        </p:spPr>
        <p:txBody>
          <a:bodyPr anchor="ctr">
            <a:normAutofit/>
          </a:bodyPr>
          <a:lstStyle>
            <a:lvl1pPr>
              <a:defRPr sz="2667" b="0" u="none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Objekt/bilde </a:t>
            </a:r>
          </a:p>
          <a:p>
            <a:pPr lvl="0"/>
            <a:r>
              <a:rPr lang="nb-NO"/>
              <a:t>Gjerne på hvit bakgrunn, </a:t>
            </a:r>
            <a:br>
              <a:rPr lang="nb-NO"/>
            </a:br>
            <a:r>
              <a:rPr lang="nb-NO"/>
              <a:t>eller som fyller hele bilderammen</a:t>
            </a:r>
          </a:p>
        </p:txBody>
      </p:sp>
    </p:spTree>
    <p:extLst>
      <p:ext uri="{BB962C8B-B14F-4D97-AF65-F5344CB8AC3E}">
        <p14:creationId xmlns:p14="http://schemas.microsoft.com/office/powerpoint/2010/main" val="625623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+ teks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39725" y="274639"/>
            <a:ext cx="6560456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943872" y="1600201"/>
            <a:ext cx="6536928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1798AC62-7ED8-4D52-A3F6-CB60076A8E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882" b="1518"/>
          <a:stretch/>
        </p:blipFill>
        <p:spPr>
          <a:xfrm>
            <a:off x="0" y="0"/>
            <a:ext cx="4664364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3954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ormal sid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9797" y="274639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99797" y="1600201"/>
            <a:ext cx="10972800" cy="452596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1058673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9797" y="274639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99797" y="1600201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274997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439720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+ tekst -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 descr="Et bilde som inneholder utendørs, himmel, fjell, natur&#10;&#10;Automatisk generert beskrivelse">
            <a:extLst>
              <a:ext uri="{FF2B5EF4-FFF2-40B4-BE49-F238E27FC236}">
                <a16:creationId xmlns:a16="http://schemas.microsoft.com/office/drawing/2014/main" id="{7C748AC6-6A32-45B7-8BBF-149D4C76F3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81523" cy="6112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5849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2B23C0A-7238-4F49-BAA6-52FDBCBCE6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D6B0C13E-B6A2-4D53-B44A-401B693FFD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5481EAEC-3135-470F-B614-FB532136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CB84E7D7-BC98-412E-9043-9E637BE0F4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fgæphjrwptæh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ADD0C39-110B-43B7-B29E-4ACD7503CB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69B23D-4A4B-4ADD-A2D7-D5A72802A6B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751792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027A901-7E59-454F-8CAC-2AEC0A1B4B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square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1C80FA9-52A0-46A8-823F-B3E124686A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BE82F0E-2453-4460-AF2B-0FF41F78A0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CD086E2-5C24-42D7-9F6C-0D3A2C7A9F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fgæphjrwptæh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B17BBEC-8E57-4840-8169-3B760C870F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69B23D-4A4B-4ADD-A2D7-D5A72802A6B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2668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2EACD65-746B-4C98-9A67-AC2CA42C12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B4099FB8-68B3-49FF-938A-1FFAA4A17D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941118B-D18E-40DD-A672-D674E35AE7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91023B8-C353-44EC-B291-A58176C7D9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fgæphjrwptæh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162565E-9387-4415-9245-F4A7084CAA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69B23D-4A4B-4ADD-A2D7-D5A72802A6B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72368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9D74EA7-557B-4952-9F9A-6B3E960CD9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64D57AA-1905-46E6-B976-D6C31468FCB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F174037E-DAAB-4B79-9A9E-479A0FBDC1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78540656-80B2-4804-B4FD-1BD38B7C25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1D2E439B-6394-4019-98AF-8AFBA45CE5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fgæphjrwptæh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3224CC5F-7311-4D1D-BD3A-E7799E7D78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69B23D-4A4B-4ADD-A2D7-D5A72802A6B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779103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3FCC8DA-E1B2-4FC0-8788-74991CE7EE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786F8EA4-2076-4D93-B5E2-B0A625943E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B510DE83-84A2-474D-BB6A-FAD47B2370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7EE3C3F2-961E-411C-BDC5-D55B8928384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E24BC14E-6B16-4E20-A566-4BCF2A6132B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D290EFB-7D29-42BE-A9C2-BC74841094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26E9359A-5F71-47C3-8EC1-A8A670EF0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fgæphjrwptæh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8D37B787-3473-47DF-A3D8-982438BB4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69B23D-4A4B-4ADD-A2D7-D5A72802A6B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54749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3A5798F-61EE-402F-847A-427A88DC4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299F9E05-307D-4278-98D2-92EA68A9BC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3BC0D201-7604-4B68-8373-3082FBAB59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fgæphjrwptæh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276C81C7-A963-4031-AB2C-27633E69D5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69B23D-4A4B-4ADD-A2D7-D5A72802A6B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072411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18081E31-51CB-4EB7-B26C-16843FA238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1A7FD3AE-B348-4769-A1DA-55AA18D30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fgæphjrwptæh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B8A83483-5E85-4611-82F8-9E838429F5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69B23D-4A4B-4ADD-A2D7-D5A72802A6B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84410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+ tekst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39725" y="274639"/>
            <a:ext cx="6560456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943872" y="1600201"/>
            <a:ext cx="6536928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6" name="Plassholder for innhold 14" descr="Et bilde som inneholder himmel, utendørs, bilvei, skyet&#10;&#10;Automatisk generert beskrivelse">
            <a:extLst>
              <a:ext uri="{FF2B5EF4-FFF2-40B4-BE49-F238E27FC236}">
                <a16:creationId xmlns:a16="http://schemas.microsoft.com/office/drawing/2014/main" id="{9F383A93-3B3C-4B73-94BA-2C81ADA9F0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92" r="6416" b="2"/>
          <a:stretch/>
        </p:blipFill>
        <p:spPr>
          <a:xfrm>
            <a:off x="27" y="13"/>
            <a:ext cx="4635564" cy="6857987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41966638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055C701-3BC4-444F-9BB7-DF06FF5B8D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EF99F03-0E52-47CA-BE4F-B471F5473A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D2D13DD5-A7F7-4B0B-B850-2CB893027F4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7A6431FF-C6FB-4E1E-8936-2D6469C34F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CCADA491-8C34-4E2A-A3E8-92AD91E2F2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fgæphjrwptæh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DA3B5FA-8185-4F23-A467-B7C092133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69B23D-4A4B-4ADD-A2D7-D5A72802A6B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93505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C9FCCD5-719F-4874-8BD8-68E1E45A91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A0AEC29B-CEE8-4BCE-B714-6EDCEB8D08F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1A11D77F-BC6D-4BF5-8477-B901B9C18F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3C47C85-40D2-40F7-93CD-CA8EB3D500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97A9CDD-7C5F-4944-90D8-6F85FF2877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fgæphjrwptæh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977EC248-049C-43A0-90D8-351226F0C9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69B23D-4A4B-4ADD-A2D7-D5A72802A6B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614932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25C9F86-FDFC-491E-AA2A-372AE3F9CD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0424D269-CB13-4CA6-9C93-CFC67C5E0A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61E47FC-3931-42B6-952C-27D215FC04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66091D6-B256-4EC0-8985-8AD54B77A9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fgæphjrwptæh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3D99A9B4-E4E1-488B-A907-04F93392CF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69B23D-4A4B-4ADD-A2D7-D5A72802A6B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593268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24E4A1A6-3003-4D16-9D8D-7D07EAEA39A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FAC8DC75-E4F8-491C-82DF-3C35E952864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8D368A9-6684-4FC4-B14F-93663A75F0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6576DF77-61C5-4B7B-B3CC-FB57F9EA64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fgæphjrwptæh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7FEC7CA9-BA7A-47D7-8C85-7B806CE69F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69B23D-4A4B-4ADD-A2D7-D5A72802A6B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475822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norm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4793A5B-E7B8-4C99-A418-8F8658427EA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E38E4301-9788-164D-9664-3D256996C6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" y="-2"/>
            <a:ext cx="4619624" cy="3438000"/>
          </a:xfrm>
          <a:solidFill>
            <a:schemeClr val="accent1"/>
          </a:solidFill>
        </p:spPr>
        <p:txBody>
          <a:bodyPr lIns="720000" tIns="720000" rIns="540000" bIns="360000" anchor="b" anchorCtr="0">
            <a:noAutofit/>
          </a:bodyPr>
          <a:lstStyle>
            <a:lvl1pPr algn="l">
              <a:lnSpc>
                <a:spcPct val="90000"/>
              </a:lnSpc>
              <a:defRPr sz="3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D6995328-6892-8E49-8951-D46A5D939EC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1" y="3428999"/>
            <a:ext cx="4619625" cy="1186751"/>
          </a:xfrm>
          <a:solidFill>
            <a:schemeClr val="accent1"/>
          </a:solidFill>
        </p:spPr>
        <p:txBody>
          <a:bodyPr lIns="720000" rIns="72000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24D46953-51B1-2642-9E76-C78C4D2A5E20}"/>
              </a:ext>
            </a:extLst>
          </p:cNvPr>
          <p:cNvGrpSpPr/>
          <p:nvPr/>
        </p:nvGrpSpPr>
        <p:grpSpPr>
          <a:xfrm>
            <a:off x="2442040" y="-335454"/>
            <a:ext cx="1043680" cy="190800"/>
            <a:chOff x="2442040" y="-335454"/>
            <a:chExt cx="1043680" cy="190800"/>
          </a:xfrm>
        </p:grpSpPr>
        <p:sp>
          <p:nvSpPr>
            <p:cNvPr id="11" name="Rektangel 10">
              <a:extLst>
                <a:ext uri="{FF2B5EF4-FFF2-40B4-BE49-F238E27FC236}">
                  <a16:creationId xmlns:a16="http://schemas.microsoft.com/office/drawing/2014/main" id="{F09627A4-74A0-8C45-9058-B335B33AFAFD}"/>
                </a:ext>
              </a:extLst>
            </p:cNvPr>
            <p:cNvSpPr/>
            <p:nvPr/>
          </p:nvSpPr>
          <p:spPr>
            <a:xfrm>
              <a:off x="2442040" y="-335454"/>
              <a:ext cx="1043680" cy="19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grpSp>
          <p:nvGrpSpPr>
            <p:cNvPr id="12" name="Gruppe 11">
              <a:extLst>
                <a:ext uri="{FF2B5EF4-FFF2-40B4-BE49-F238E27FC236}">
                  <a16:creationId xmlns:a16="http://schemas.microsoft.com/office/drawing/2014/main" id="{BC368A8A-CF7D-B143-99BD-836D6370F545}"/>
                </a:ext>
              </a:extLst>
            </p:cNvPr>
            <p:cNvGrpSpPr/>
            <p:nvPr/>
          </p:nvGrpSpPr>
          <p:grpSpPr>
            <a:xfrm>
              <a:off x="2506820" y="-296561"/>
              <a:ext cx="914120" cy="108000"/>
              <a:chOff x="2442040" y="-296561"/>
              <a:chExt cx="914120" cy="108000"/>
            </a:xfrm>
          </p:grpSpPr>
          <p:sp>
            <p:nvSpPr>
              <p:cNvPr id="13" name="Rektangel 12">
                <a:extLst>
                  <a:ext uri="{FF2B5EF4-FFF2-40B4-BE49-F238E27FC236}">
                    <a16:creationId xmlns:a16="http://schemas.microsoft.com/office/drawing/2014/main" id="{B2AB4584-DF32-2E4D-A0C2-BCDA17515661}"/>
                  </a:ext>
                </a:extLst>
              </p:cNvPr>
              <p:cNvSpPr/>
              <p:nvPr/>
            </p:nvSpPr>
            <p:spPr>
              <a:xfrm>
                <a:off x="2442040" y="-296561"/>
                <a:ext cx="108000" cy="108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" name="Rektangel 13">
                <a:extLst>
                  <a:ext uri="{FF2B5EF4-FFF2-40B4-BE49-F238E27FC236}">
                    <a16:creationId xmlns:a16="http://schemas.microsoft.com/office/drawing/2014/main" id="{307AD813-2F95-B145-8866-AB893EE32AAF}"/>
                  </a:ext>
                </a:extLst>
              </p:cNvPr>
              <p:cNvSpPr/>
              <p:nvPr/>
            </p:nvSpPr>
            <p:spPr>
              <a:xfrm>
                <a:off x="2764488" y="-296561"/>
                <a:ext cx="108000" cy="108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" name="Rektangel 14">
                <a:extLst>
                  <a:ext uri="{FF2B5EF4-FFF2-40B4-BE49-F238E27FC236}">
                    <a16:creationId xmlns:a16="http://schemas.microsoft.com/office/drawing/2014/main" id="{0D9CDADD-E0FB-CE40-9647-33E2462E729E}"/>
                  </a:ext>
                </a:extLst>
              </p:cNvPr>
              <p:cNvSpPr/>
              <p:nvPr/>
            </p:nvSpPr>
            <p:spPr>
              <a:xfrm>
                <a:off x="3248160" y="-296561"/>
                <a:ext cx="108000" cy="108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" name="Rektangel 15">
                <a:extLst>
                  <a:ext uri="{FF2B5EF4-FFF2-40B4-BE49-F238E27FC236}">
                    <a16:creationId xmlns:a16="http://schemas.microsoft.com/office/drawing/2014/main" id="{52CC5802-59F2-8A4C-B373-F82F84A464EA}"/>
                  </a:ext>
                </a:extLst>
              </p:cNvPr>
              <p:cNvSpPr/>
              <p:nvPr/>
            </p:nvSpPr>
            <p:spPr>
              <a:xfrm>
                <a:off x="2603264" y="-296561"/>
                <a:ext cx="108000" cy="1080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" name="Rektangel 18">
                <a:extLst>
                  <a:ext uri="{FF2B5EF4-FFF2-40B4-BE49-F238E27FC236}">
                    <a16:creationId xmlns:a16="http://schemas.microsoft.com/office/drawing/2014/main" id="{F94FA0C1-68E6-464E-AC09-2AE1AEE87E0B}"/>
                  </a:ext>
                </a:extLst>
              </p:cNvPr>
              <p:cNvSpPr/>
              <p:nvPr/>
            </p:nvSpPr>
            <p:spPr>
              <a:xfrm>
                <a:off x="2925712" y="-296561"/>
                <a:ext cx="108000" cy="108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" name="Rektangel 19">
                <a:extLst>
                  <a:ext uri="{FF2B5EF4-FFF2-40B4-BE49-F238E27FC236}">
                    <a16:creationId xmlns:a16="http://schemas.microsoft.com/office/drawing/2014/main" id="{EF895D5F-CFC3-1F42-8E10-31C2985F98C1}"/>
                  </a:ext>
                </a:extLst>
              </p:cNvPr>
              <p:cNvSpPr/>
              <p:nvPr/>
            </p:nvSpPr>
            <p:spPr>
              <a:xfrm>
                <a:off x="3086936" y="-296561"/>
                <a:ext cx="108000" cy="108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</p:grpSp>
      </p:grp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D45AB863-1037-4F33-941F-BD1A4CF996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69324" y="0"/>
            <a:ext cx="1622675" cy="161999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2" t="33271" r="33444" b="-3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89261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5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alternativ gu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F5C306A-CAD5-415E-81D7-6C8639C6B0D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619624" y="0"/>
            <a:ext cx="7572375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7FE123C0-69B0-E642-86BE-36980F897039}"/>
              </a:ext>
            </a:extLst>
          </p:cNvPr>
          <p:cNvSpPr txBox="1"/>
          <p:nvPr userDrawn="1"/>
        </p:nvSpPr>
        <p:spPr>
          <a:xfrm>
            <a:off x="719998" y="-340468"/>
            <a:ext cx="1668818" cy="180425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lang="nb-NO" sz="700" noProof="1">
                <a:latin typeface="Arial" panose="020B0604020202020204" pitchFamily="34" charset="0"/>
                <a:cs typeface="Arial" panose="020B0604020202020204" pitchFamily="34" charset="0"/>
              </a:rPr>
              <a:t>AF Gruppen</a:t>
            </a:r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24D46953-51B1-2642-9E76-C78C4D2A5E20}"/>
              </a:ext>
            </a:extLst>
          </p:cNvPr>
          <p:cNvGrpSpPr/>
          <p:nvPr/>
        </p:nvGrpSpPr>
        <p:grpSpPr>
          <a:xfrm>
            <a:off x="2442040" y="-335454"/>
            <a:ext cx="1043680" cy="190800"/>
            <a:chOff x="2442040" y="-335454"/>
            <a:chExt cx="1043680" cy="190800"/>
          </a:xfrm>
        </p:grpSpPr>
        <p:sp>
          <p:nvSpPr>
            <p:cNvPr id="11" name="Rektangel 10">
              <a:extLst>
                <a:ext uri="{FF2B5EF4-FFF2-40B4-BE49-F238E27FC236}">
                  <a16:creationId xmlns:a16="http://schemas.microsoft.com/office/drawing/2014/main" id="{F09627A4-74A0-8C45-9058-B335B33AFAFD}"/>
                </a:ext>
              </a:extLst>
            </p:cNvPr>
            <p:cNvSpPr/>
            <p:nvPr/>
          </p:nvSpPr>
          <p:spPr>
            <a:xfrm>
              <a:off x="2442040" y="-335454"/>
              <a:ext cx="1043680" cy="19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grpSp>
          <p:nvGrpSpPr>
            <p:cNvPr id="12" name="Gruppe 11">
              <a:extLst>
                <a:ext uri="{FF2B5EF4-FFF2-40B4-BE49-F238E27FC236}">
                  <a16:creationId xmlns:a16="http://schemas.microsoft.com/office/drawing/2014/main" id="{BC368A8A-CF7D-B143-99BD-836D6370F545}"/>
                </a:ext>
              </a:extLst>
            </p:cNvPr>
            <p:cNvGrpSpPr/>
            <p:nvPr/>
          </p:nvGrpSpPr>
          <p:grpSpPr>
            <a:xfrm>
              <a:off x="2506820" y="-296561"/>
              <a:ext cx="914120" cy="108000"/>
              <a:chOff x="2442040" y="-296561"/>
              <a:chExt cx="914120" cy="108000"/>
            </a:xfrm>
          </p:grpSpPr>
          <p:sp>
            <p:nvSpPr>
              <p:cNvPr id="13" name="Rektangel 12">
                <a:extLst>
                  <a:ext uri="{FF2B5EF4-FFF2-40B4-BE49-F238E27FC236}">
                    <a16:creationId xmlns:a16="http://schemas.microsoft.com/office/drawing/2014/main" id="{B2AB4584-DF32-2E4D-A0C2-BCDA17515661}"/>
                  </a:ext>
                </a:extLst>
              </p:cNvPr>
              <p:cNvSpPr/>
              <p:nvPr/>
            </p:nvSpPr>
            <p:spPr>
              <a:xfrm>
                <a:off x="2442040" y="-296561"/>
                <a:ext cx="108000" cy="108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" name="Rektangel 13">
                <a:extLst>
                  <a:ext uri="{FF2B5EF4-FFF2-40B4-BE49-F238E27FC236}">
                    <a16:creationId xmlns:a16="http://schemas.microsoft.com/office/drawing/2014/main" id="{307AD813-2F95-B145-8866-AB893EE32AAF}"/>
                  </a:ext>
                </a:extLst>
              </p:cNvPr>
              <p:cNvSpPr/>
              <p:nvPr/>
            </p:nvSpPr>
            <p:spPr>
              <a:xfrm>
                <a:off x="2764488" y="-296561"/>
                <a:ext cx="108000" cy="108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" name="Rektangel 14">
                <a:extLst>
                  <a:ext uri="{FF2B5EF4-FFF2-40B4-BE49-F238E27FC236}">
                    <a16:creationId xmlns:a16="http://schemas.microsoft.com/office/drawing/2014/main" id="{0D9CDADD-E0FB-CE40-9647-33E2462E729E}"/>
                  </a:ext>
                </a:extLst>
              </p:cNvPr>
              <p:cNvSpPr/>
              <p:nvPr/>
            </p:nvSpPr>
            <p:spPr>
              <a:xfrm>
                <a:off x="3248160" y="-296561"/>
                <a:ext cx="108000" cy="108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" name="Rektangel 15">
                <a:extLst>
                  <a:ext uri="{FF2B5EF4-FFF2-40B4-BE49-F238E27FC236}">
                    <a16:creationId xmlns:a16="http://schemas.microsoft.com/office/drawing/2014/main" id="{52CC5802-59F2-8A4C-B373-F82F84A464EA}"/>
                  </a:ext>
                </a:extLst>
              </p:cNvPr>
              <p:cNvSpPr/>
              <p:nvPr/>
            </p:nvSpPr>
            <p:spPr>
              <a:xfrm>
                <a:off x="2603264" y="-296561"/>
                <a:ext cx="108000" cy="1080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" name="Rektangel 18">
                <a:extLst>
                  <a:ext uri="{FF2B5EF4-FFF2-40B4-BE49-F238E27FC236}">
                    <a16:creationId xmlns:a16="http://schemas.microsoft.com/office/drawing/2014/main" id="{F94FA0C1-68E6-464E-AC09-2AE1AEE87E0B}"/>
                  </a:ext>
                </a:extLst>
              </p:cNvPr>
              <p:cNvSpPr/>
              <p:nvPr/>
            </p:nvSpPr>
            <p:spPr>
              <a:xfrm>
                <a:off x="2925712" y="-296561"/>
                <a:ext cx="108000" cy="108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" name="Rektangel 19">
                <a:extLst>
                  <a:ext uri="{FF2B5EF4-FFF2-40B4-BE49-F238E27FC236}">
                    <a16:creationId xmlns:a16="http://schemas.microsoft.com/office/drawing/2014/main" id="{EF895D5F-CFC3-1F42-8E10-31C2985F98C1}"/>
                  </a:ext>
                </a:extLst>
              </p:cNvPr>
              <p:cNvSpPr/>
              <p:nvPr/>
            </p:nvSpPr>
            <p:spPr>
              <a:xfrm>
                <a:off x="3086936" y="-296561"/>
                <a:ext cx="108000" cy="108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</p:grpSp>
      </p:grpSp>
      <p:sp>
        <p:nvSpPr>
          <p:cNvPr id="26" name="Tittel 1">
            <a:extLst>
              <a:ext uri="{FF2B5EF4-FFF2-40B4-BE49-F238E27FC236}">
                <a16:creationId xmlns:a16="http://schemas.microsoft.com/office/drawing/2014/main" id="{9363A00E-1349-4947-AA83-0BB76A66A8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" y="-2"/>
            <a:ext cx="4619624" cy="3438000"/>
          </a:xfrm>
          <a:noFill/>
        </p:spPr>
        <p:txBody>
          <a:bodyPr lIns="720000" tIns="720000" rIns="540000" bIns="360000" anchor="b" anchorCtr="0">
            <a:noAutofit/>
          </a:bodyPr>
          <a:lstStyle>
            <a:lvl1pPr algn="l">
              <a:lnSpc>
                <a:spcPct val="90000"/>
              </a:lnSpc>
              <a:defRPr sz="3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27" name="Undertittel 2">
            <a:extLst>
              <a:ext uri="{FF2B5EF4-FFF2-40B4-BE49-F238E27FC236}">
                <a16:creationId xmlns:a16="http://schemas.microsoft.com/office/drawing/2014/main" id="{48443F58-F050-4D81-BA7C-1187E2165C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1" y="3429000"/>
            <a:ext cx="4619625" cy="3429000"/>
          </a:xfrm>
        </p:spPr>
        <p:txBody>
          <a:bodyPr lIns="720000" rIns="72000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30FCD4D0-19E7-4677-96E8-BA348B6AAF2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69324" y="0"/>
            <a:ext cx="1622675" cy="161999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2" t="33271" r="33444" b="-3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18087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54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alternativ gr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F5C306A-CAD5-415E-81D7-6C8639C6B0D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619624" y="0"/>
            <a:ext cx="7572375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7FE123C0-69B0-E642-86BE-36980F897039}"/>
              </a:ext>
            </a:extLst>
          </p:cNvPr>
          <p:cNvSpPr txBox="1"/>
          <p:nvPr/>
        </p:nvSpPr>
        <p:spPr>
          <a:xfrm>
            <a:off x="719998" y="-340468"/>
            <a:ext cx="1668818" cy="180425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lang="nb-NO" sz="700" noProof="1">
                <a:latin typeface="Arial" panose="020B0604020202020204" pitchFamily="34" charset="0"/>
                <a:cs typeface="Arial" panose="020B0604020202020204" pitchFamily="34" charset="0"/>
              </a:rPr>
              <a:t>AF Gruppen</a:t>
            </a:r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24D46953-51B1-2642-9E76-C78C4D2A5E20}"/>
              </a:ext>
            </a:extLst>
          </p:cNvPr>
          <p:cNvGrpSpPr/>
          <p:nvPr/>
        </p:nvGrpSpPr>
        <p:grpSpPr>
          <a:xfrm>
            <a:off x="2442040" y="-335454"/>
            <a:ext cx="1043680" cy="190800"/>
            <a:chOff x="2442040" y="-335454"/>
            <a:chExt cx="1043680" cy="190800"/>
          </a:xfrm>
        </p:grpSpPr>
        <p:sp>
          <p:nvSpPr>
            <p:cNvPr id="11" name="Rektangel 10">
              <a:extLst>
                <a:ext uri="{FF2B5EF4-FFF2-40B4-BE49-F238E27FC236}">
                  <a16:creationId xmlns:a16="http://schemas.microsoft.com/office/drawing/2014/main" id="{F09627A4-74A0-8C45-9058-B335B33AFAFD}"/>
                </a:ext>
              </a:extLst>
            </p:cNvPr>
            <p:cNvSpPr/>
            <p:nvPr/>
          </p:nvSpPr>
          <p:spPr>
            <a:xfrm>
              <a:off x="2442040" y="-335454"/>
              <a:ext cx="1043680" cy="19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grpSp>
          <p:nvGrpSpPr>
            <p:cNvPr id="12" name="Gruppe 11">
              <a:extLst>
                <a:ext uri="{FF2B5EF4-FFF2-40B4-BE49-F238E27FC236}">
                  <a16:creationId xmlns:a16="http://schemas.microsoft.com/office/drawing/2014/main" id="{BC368A8A-CF7D-B143-99BD-836D6370F545}"/>
                </a:ext>
              </a:extLst>
            </p:cNvPr>
            <p:cNvGrpSpPr/>
            <p:nvPr/>
          </p:nvGrpSpPr>
          <p:grpSpPr>
            <a:xfrm>
              <a:off x="2506820" y="-296561"/>
              <a:ext cx="914120" cy="108000"/>
              <a:chOff x="2442040" y="-296561"/>
              <a:chExt cx="914120" cy="108000"/>
            </a:xfrm>
          </p:grpSpPr>
          <p:sp>
            <p:nvSpPr>
              <p:cNvPr id="13" name="Rektangel 12">
                <a:extLst>
                  <a:ext uri="{FF2B5EF4-FFF2-40B4-BE49-F238E27FC236}">
                    <a16:creationId xmlns:a16="http://schemas.microsoft.com/office/drawing/2014/main" id="{B2AB4584-DF32-2E4D-A0C2-BCDA17515661}"/>
                  </a:ext>
                </a:extLst>
              </p:cNvPr>
              <p:cNvSpPr/>
              <p:nvPr/>
            </p:nvSpPr>
            <p:spPr>
              <a:xfrm>
                <a:off x="2442040" y="-296561"/>
                <a:ext cx="108000" cy="108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" name="Rektangel 13">
                <a:extLst>
                  <a:ext uri="{FF2B5EF4-FFF2-40B4-BE49-F238E27FC236}">
                    <a16:creationId xmlns:a16="http://schemas.microsoft.com/office/drawing/2014/main" id="{307AD813-2F95-B145-8866-AB893EE32AAF}"/>
                  </a:ext>
                </a:extLst>
              </p:cNvPr>
              <p:cNvSpPr/>
              <p:nvPr/>
            </p:nvSpPr>
            <p:spPr>
              <a:xfrm>
                <a:off x="2764488" y="-296561"/>
                <a:ext cx="108000" cy="108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" name="Rektangel 14">
                <a:extLst>
                  <a:ext uri="{FF2B5EF4-FFF2-40B4-BE49-F238E27FC236}">
                    <a16:creationId xmlns:a16="http://schemas.microsoft.com/office/drawing/2014/main" id="{0D9CDADD-E0FB-CE40-9647-33E2462E729E}"/>
                  </a:ext>
                </a:extLst>
              </p:cNvPr>
              <p:cNvSpPr/>
              <p:nvPr/>
            </p:nvSpPr>
            <p:spPr>
              <a:xfrm>
                <a:off x="3248160" y="-296561"/>
                <a:ext cx="108000" cy="108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" name="Rektangel 15">
                <a:extLst>
                  <a:ext uri="{FF2B5EF4-FFF2-40B4-BE49-F238E27FC236}">
                    <a16:creationId xmlns:a16="http://schemas.microsoft.com/office/drawing/2014/main" id="{52CC5802-59F2-8A4C-B373-F82F84A464EA}"/>
                  </a:ext>
                </a:extLst>
              </p:cNvPr>
              <p:cNvSpPr/>
              <p:nvPr/>
            </p:nvSpPr>
            <p:spPr>
              <a:xfrm>
                <a:off x="2603264" y="-296561"/>
                <a:ext cx="108000" cy="1080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" name="Rektangel 18">
                <a:extLst>
                  <a:ext uri="{FF2B5EF4-FFF2-40B4-BE49-F238E27FC236}">
                    <a16:creationId xmlns:a16="http://schemas.microsoft.com/office/drawing/2014/main" id="{F94FA0C1-68E6-464E-AC09-2AE1AEE87E0B}"/>
                  </a:ext>
                </a:extLst>
              </p:cNvPr>
              <p:cNvSpPr/>
              <p:nvPr/>
            </p:nvSpPr>
            <p:spPr>
              <a:xfrm>
                <a:off x="2925712" y="-296561"/>
                <a:ext cx="108000" cy="108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" name="Rektangel 19">
                <a:extLst>
                  <a:ext uri="{FF2B5EF4-FFF2-40B4-BE49-F238E27FC236}">
                    <a16:creationId xmlns:a16="http://schemas.microsoft.com/office/drawing/2014/main" id="{EF895D5F-CFC3-1F42-8E10-31C2985F98C1}"/>
                  </a:ext>
                </a:extLst>
              </p:cNvPr>
              <p:cNvSpPr/>
              <p:nvPr/>
            </p:nvSpPr>
            <p:spPr>
              <a:xfrm>
                <a:off x="3086936" y="-296561"/>
                <a:ext cx="108000" cy="108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</p:grpSp>
      </p:grpSp>
      <p:sp>
        <p:nvSpPr>
          <p:cNvPr id="26" name="Tittel 1">
            <a:extLst>
              <a:ext uri="{FF2B5EF4-FFF2-40B4-BE49-F238E27FC236}">
                <a16:creationId xmlns:a16="http://schemas.microsoft.com/office/drawing/2014/main" id="{9363A00E-1349-4947-AA83-0BB76A66A8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" y="-2"/>
            <a:ext cx="4619624" cy="3438000"/>
          </a:xfrm>
          <a:solidFill>
            <a:schemeClr val="tx2"/>
          </a:solidFill>
        </p:spPr>
        <p:txBody>
          <a:bodyPr lIns="720000" tIns="720000" rIns="540000" bIns="360000" anchor="b" anchorCtr="0">
            <a:noAutofit/>
          </a:bodyPr>
          <a:lstStyle>
            <a:lvl1pPr algn="l">
              <a:lnSpc>
                <a:spcPct val="9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27" name="Undertittel 2">
            <a:extLst>
              <a:ext uri="{FF2B5EF4-FFF2-40B4-BE49-F238E27FC236}">
                <a16:creationId xmlns:a16="http://schemas.microsoft.com/office/drawing/2014/main" id="{48443F58-F050-4D81-BA7C-1187E2165C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1" y="3429000"/>
            <a:ext cx="4619625" cy="3429000"/>
          </a:xfrm>
          <a:solidFill>
            <a:schemeClr val="tx2"/>
          </a:solidFill>
        </p:spPr>
        <p:txBody>
          <a:bodyPr lIns="720000" rIns="72000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D218A4F1-B622-4654-BDDD-23C7587842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69324" y="0"/>
            <a:ext cx="1622675" cy="161999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2" t="33271" r="33444" b="-3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35670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54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8198578-1CC1-9B42-A782-25F216402B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1932563"/>
            <a:ext cx="10763250" cy="420544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F9651C1E-8EFA-5A44-9E4A-5B5B5B5BFB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04CAD5E9-1DF4-7A46-AB26-B7E752C3B0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81157803-BFB9-5448-8FED-3C32C96D20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3" name="Plassholder for tekst 13">
            <a:extLst>
              <a:ext uri="{FF2B5EF4-FFF2-40B4-BE49-F238E27FC236}">
                <a16:creationId xmlns:a16="http://schemas.microsoft.com/office/drawing/2014/main" id="{5BDEC490-5235-9843-9E24-EB55EF35FF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58CC506-3884-4A45-8D33-86DCEA595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631507"/>
            <a:ext cx="10757628" cy="1019278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3749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4">
          <p15:clr>
            <a:srgbClr val="FBAE40"/>
          </p15:clr>
        </p15:guide>
        <p15:guide id="2" orient="horz" pos="34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grå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BA185CE-0C4D-BA4C-AD56-EC7A01C6D2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631507"/>
            <a:ext cx="10757628" cy="1019278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8198578-1CC1-9B42-A782-25F216402B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1932563"/>
            <a:ext cx="10763250" cy="42054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F9651C1E-8EFA-5A44-9E4A-5B5B5B5BFB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04CAD5E9-1DF4-7A46-AB26-B7E752C3B0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nb-NO"/>
              <a:t>AF Presentasjonsmal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81157803-BFB9-5448-8FED-3C32C96D20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tekst 13">
            <a:extLst>
              <a:ext uri="{FF2B5EF4-FFF2-40B4-BE49-F238E27FC236}">
                <a16:creationId xmlns:a16="http://schemas.microsoft.com/office/drawing/2014/main" id="{6DE9EF62-0349-414F-B572-7B78069149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1495241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4">
          <p15:clr>
            <a:srgbClr val="FBAE40"/>
          </p15:clr>
        </p15:guide>
        <p15:guide id="2" orient="horz" pos="3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C929E29-018C-5F49-AFD1-E1D4A5301A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998" y="719138"/>
            <a:ext cx="7704156" cy="2709862"/>
          </a:xfrm>
        </p:spPr>
        <p:txBody>
          <a:bodyPr bIns="180000" anchor="b" anchorCtr="0">
            <a:noAutofit/>
          </a:bodyPr>
          <a:lstStyle>
            <a:lvl1pPr>
              <a:lnSpc>
                <a:spcPct val="90000"/>
              </a:lnSpc>
              <a:defRPr sz="5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C2ADE2A-446E-F44D-8B0C-69B38F62E15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998" y="3741905"/>
            <a:ext cx="7704156" cy="234774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5613402-9B9E-8B49-8A1C-573C429B4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F9809E6-B518-3F4B-B80A-00A1D6FE6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F6EC21E-B709-FC48-9BBF-7B55CC7A9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58ACA20-2938-4BF7-926B-FE00C391E542}"/>
              </a:ext>
            </a:extLst>
          </p:cNvPr>
          <p:cNvGrpSpPr/>
          <p:nvPr userDrawn="1"/>
        </p:nvGrpSpPr>
        <p:grpSpPr>
          <a:xfrm>
            <a:off x="11583006" y="179995"/>
            <a:ext cx="428994" cy="428994"/>
            <a:chOff x="11583006" y="179995"/>
            <a:chExt cx="428994" cy="428994"/>
          </a:xfrm>
        </p:grpSpPr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A50E0565-9EB5-B543-9BD1-C0D47B94FC7E}"/>
                </a:ext>
              </a:extLst>
            </p:cNvPr>
            <p:cNvSpPr/>
            <p:nvPr/>
          </p:nvSpPr>
          <p:spPr>
            <a:xfrm>
              <a:off x="11583006" y="179995"/>
              <a:ext cx="428994" cy="42899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1" name="Grafikk 8">
              <a:extLst>
                <a:ext uri="{FF2B5EF4-FFF2-40B4-BE49-F238E27FC236}">
                  <a16:creationId xmlns:a16="http://schemas.microsoft.com/office/drawing/2014/main" id="{9DD924FC-2F34-4DB6-8351-73E79ACD2F3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583006" y="179995"/>
              <a:ext cx="428994" cy="4289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4851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 + tekst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39725" y="274639"/>
            <a:ext cx="6560456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943872" y="1600201"/>
            <a:ext cx="6536928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4" name="Plassholder for innhold 19" descr="Et bilde som inneholder utendørs&#10;&#10;Automatisk generert beskrivelse">
            <a:extLst>
              <a:ext uri="{FF2B5EF4-FFF2-40B4-BE49-F238E27FC236}">
                <a16:creationId xmlns:a16="http://schemas.microsoft.com/office/drawing/2014/main" id="{3DCDAD98-616C-432A-A601-C064F4D9EB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9" r="12639" b="2"/>
          <a:stretch/>
        </p:blipFill>
        <p:spPr>
          <a:xfrm>
            <a:off x="20" y="10"/>
            <a:ext cx="4632138" cy="6852918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9251293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loverskrift lite bil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BA2BBCF1-6F0F-8A4F-A227-ABF431951B90}"/>
              </a:ext>
            </a:extLst>
          </p:cNvPr>
          <p:cNvSpPr/>
          <p:nvPr/>
        </p:nvSpPr>
        <p:spPr>
          <a:xfrm>
            <a:off x="0" y="0"/>
            <a:ext cx="46152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+mn-lt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C929E29-018C-5F49-AFD1-E1D4A5301A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40350" y="719138"/>
            <a:ext cx="6137275" cy="2709862"/>
          </a:xfrm>
        </p:spPr>
        <p:txBody>
          <a:bodyPr rIns="360000" bIns="180000" anchor="b" anchorCtr="0">
            <a:noAutofit/>
          </a:bodyPr>
          <a:lstStyle>
            <a:lvl1pPr>
              <a:lnSpc>
                <a:spcPct val="90000"/>
              </a:lnSpc>
              <a:defRPr sz="5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C2ADE2A-446E-F44D-8B0C-69B38F62E15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340350" y="3741905"/>
            <a:ext cx="6137275" cy="234774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5613402-9B9E-8B49-8A1C-573C429B4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F9809E6-B518-3F4B-B80A-00A1D6FE6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j-lt"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F6EC21E-B709-FC48-9BBF-7B55CC7A9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Bilde">
            <a:extLst>
              <a:ext uri="{FF2B5EF4-FFF2-40B4-BE49-F238E27FC236}">
                <a16:creationId xmlns:a16="http://schemas.microsoft.com/office/drawing/2014/main" id="{F5150A65-DBF1-1A48-8233-29551C007E9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4615200" cy="4615200"/>
          </a:xfrm>
          <a:solidFill>
            <a:schemeClr val="bg2"/>
          </a:solidFill>
        </p:spPr>
        <p:txBody>
          <a:bodyPr lIns="720000" tIns="720000" rIns="720000" bIns="720000"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340693A-1804-4560-A5F2-1CB64105EAD3}"/>
              </a:ext>
            </a:extLst>
          </p:cNvPr>
          <p:cNvGrpSpPr/>
          <p:nvPr userDrawn="1"/>
        </p:nvGrpSpPr>
        <p:grpSpPr>
          <a:xfrm>
            <a:off x="11583006" y="179995"/>
            <a:ext cx="428994" cy="428994"/>
            <a:chOff x="11583006" y="179995"/>
            <a:chExt cx="428994" cy="428994"/>
          </a:xfrm>
        </p:grpSpPr>
        <p:sp>
          <p:nvSpPr>
            <p:cNvPr id="13" name="Rektangel 7">
              <a:extLst>
                <a:ext uri="{FF2B5EF4-FFF2-40B4-BE49-F238E27FC236}">
                  <a16:creationId xmlns:a16="http://schemas.microsoft.com/office/drawing/2014/main" id="{14D66226-0868-46F7-B5FC-13911898BEF7}"/>
                </a:ext>
              </a:extLst>
            </p:cNvPr>
            <p:cNvSpPr/>
            <p:nvPr/>
          </p:nvSpPr>
          <p:spPr>
            <a:xfrm>
              <a:off x="11583006" y="179995"/>
              <a:ext cx="428994" cy="42899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4" name="Grafikk 8">
              <a:extLst>
                <a:ext uri="{FF2B5EF4-FFF2-40B4-BE49-F238E27FC236}">
                  <a16:creationId xmlns:a16="http://schemas.microsoft.com/office/drawing/2014/main" id="{0BB41FEB-3E03-4AC5-8600-2D759C5F9EB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583006" y="179995"/>
              <a:ext cx="428994" cy="4289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0315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910">
          <p15:clr>
            <a:srgbClr val="FBAE40"/>
          </p15:clr>
        </p15:guide>
        <p15:guide id="2" pos="336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 stort bil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BA2BBCF1-6F0F-8A4F-A227-ABF431951B90}"/>
              </a:ext>
            </a:extLst>
          </p:cNvPr>
          <p:cNvSpPr/>
          <p:nvPr/>
        </p:nvSpPr>
        <p:spPr>
          <a:xfrm flipV="1">
            <a:off x="0" y="5335200"/>
            <a:ext cx="5340350" cy="1522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CA9475B8-00D9-476E-9020-2BBEB81679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40350" y="0"/>
            <a:ext cx="6851650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C929E29-018C-5F49-AFD1-E1D4A5301A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796"/>
            <a:ext cx="5340350" cy="3438000"/>
          </a:xfrm>
        </p:spPr>
        <p:txBody>
          <a:bodyPr lIns="720000" tIns="720000" rIns="360000" bIns="180000" anchor="b" anchorCtr="0">
            <a:noAutofit/>
          </a:bodyPr>
          <a:lstStyle>
            <a:lvl1pPr>
              <a:lnSpc>
                <a:spcPct val="90000"/>
              </a:lnSpc>
              <a:defRPr sz="5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C2ADE2A-446E-F44D-8B0C-69B38F62E15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0" y="3429000"/>
            <a:ext cx="5340350" cy="1906200"/>
          </a:xfrm>
        </p:spPr>
        <p:txBody>
          <a:bodyPr lIns="720000" rIns="360000" bIns="180000">
            <a:norm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5613402-9B9E-8B49-8A1C-573C429B4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F9809E6-B518-3F4B-B80A-00A1D6FE6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F6EC21E-B709-FC48-9BBF-7B55CC7A9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96610DBE-3562-451E-861A-C9CB0A5B0BF9}"/>
              </a:ext>
            </a:extLst>
          </p:cNvPr>
          <p:cNvSpPr txBox="1">
            <a:spLocks/>
          </p:cNvSpPr>
          <p:nvPr userDrawn="1"/>
        </p:nvSpPr>
        <p:spPr>
          <a:xfrm>
            <a:off x="11583005" y="0"/>
            <a:ext cx="608995" cy="608994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1" t="29490" r="29556" b="-2"/>
            </a:stretch>
          </a:blipFill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None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8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02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36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70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0208227F-C722-4A36-9BF0-ECCC1A5760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3926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364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 utfallend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5481A32F-4AD6-4E16-A15D-3A2E7F5BEC7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C929E29-018C-5F49-AFD1-E1D4A5301A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4626011" cy="3438000"/>
          </a:xfrm>
          <a:solidFill>
            <a:schemeClr val="accent1"/>
          </a:solidFill>
        </p:spPr>
        <p:txBody>
          <a:bodyPr lIns="720000" tIns="720000" rIns="360000" bIns="180000" anchor="b" anchorCtr="0">
            <a:noAutofit/>
          </a:bodyPr>
          <a:lstStyle>
            <a:lvl1pPr>
              <a:lnSpc>
                <a:spcPct val="90000"/>
              </a:lnSpc>
              <a:defRPr sz="5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C2ADE2A-446E-F44D-8B0C-69B38F62E15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0" y="3429000"/>
            <a:ext cx="4626011" cy="1189801"/>
          </a:xfrm>
          <a:solidFill>
            <a:schemeClr val="accent1"/>
          </a:solidFill>
        </p:spPr>
        <p:txBody>
          <a:bodyPr lIns="720000" rIns="360000" bIns="18000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5613402-9B9E-8B49-8A1C-573C429B4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F9809E6-B518-3F4B-B80A-00A1D6FE6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0840" y="6419782"/>
            <a:ext cx="10389328" cy="187105"/>
          </a:xfrm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F6EC21E-B709-FC48-9BBF-7B55CC7A9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E2EA377E-1F4F-4E5E-B619-15182415ADB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06654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91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 utfallen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BEB8DCAA-94DE-4A9F-B463-530E94719ED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C929E29-018C-5F49-AFD1-E1D4A5301A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2239198"/>
            <a:ext cx="4619624" cy="2707200"/>
          </a:xfrm>
          <a:solidFill>
            <a:schemeClr val="accent1"/>
          </a:solidFill>
        </p:spPr>
        <p:txBody>
          <a:bodyPr lIns="720000" tIns="720000" rIns="360000" bIns="360000" anchor="t" anchorCtr="0">
            <a:noAutofit/>
          </a:bodyPr>
          <a:lstStyle>
            <a:lvl1pPr>
              <a:lnSpc>
                <a:spcPct val="90000"/>
              </a:lnSpc>
              <a:defRPr sz="5800"/>
            </a:lvl1pPr>
          </a:lstStyle>
          <a:p>
            <a:r>
              <a:rPr lang="nb-NO"/>
              <a:t>Tittel to linjer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C2ADE2A-446E-F44D-8B0C-69B38F62E15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-1" y="4936341"/>
            <a:ext cx="4619626" cy="1916864"/>
          </a:xfrm>
          <a:solidFill>
            <a:schemeClr val="accent1"/>
          </a:solidFill>
        </p:spPr>
        <p:txBody>
          <a:bodyPr lIns="720000" rIns="360000" bIns="64800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5613402-9B9E-8B49-8A1C-573C429B4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F6EC21E-B709-FC48-9BBF-7B55CC7A9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C608973-1122-4BA3-BAC7-5BD855A2AB7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27929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91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 utfallend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e">
            <a:extLst>
              <a:ext uri="{FF2B5EF4-FFF2-40B4-BE49-F238E27FC236}">
                <a16:creationId xmlns:a16="http://schemas.microsoft.com/office/drawing/2014/main" id="{8237FB4C-407D-4290-8BC0-BEA5DDC0789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CB7252C-2FC3-4CA6-9CC6-99643D2747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2376" y="2239198"/>
            <a:ext cx="4619624" cy="2707200"/>
          </a:xfrm>
          <a:solidFill>
            <a:schemeClr val="accent1"/>
          </a:solidFill>
        </p:spPr>
        <p:txBody>
          <a:bodyPr lIns="720000" tIns="720000" rIns="360000" bIns="360000" anchor="t" anchorCtr="0">
            <a:noAutofit/>
          </a:bodyPr>
          <a:lstStyle>
            <a:lvl1pPr>
              <a:lnSpc>
                <a:spcPct val="90000"/>
              </a:lnSpc>
              <a:defRPr sz="5800"/>
            </a:lvl1pPr>
          </a:lstStyle>
          <a:p>
            <a:r>
              <a:rPr lang="nb-NO"/>
              <a:t>Tittel to linjer</a:t>
            </a:r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C1F2C58D-14F9-4521-B1B9-4ECFB5299DC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572374" y="4936341"/>
            <a:ext cx="4619626" cy="1916864"/>
          </a:xfrm>
          <a:solidFill>
            <a:schemeClr val="accent1"/>
          </a:solidFill>
        </p:spPr>
        <p:txBody>
          <a:bodyPr lIns="720000" rIns="360000" bIns="64800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5613402-9B9E-8B49-8A1C-573C429B4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F6EC21E-B709-FC48-9BBF-7B55CC7A9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308746C-860C-40FF-93C3-76E93B9389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98490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954A463-EC8E-5847-B083-46ED2B2036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0" y="1933200"/>
            <a:ext cx="5202000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18FB1FE6-1882-1F4B-972F-303EE5A6CD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0000" y="1933200"/>
            <a:ext cx="5202000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tekst 13">
            <a:extLst>
              <a:ext uri="{FF2B5EF4-FFF2-40B4-BE49-F238E27FC236}">
                <a16:creationId xmlns:a16="http://schemas.microsoft.com/office/drawing/2014/main" id="{8B9A2659-739A-4C9F-924D-B7BBC42CFF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1967069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innholdsd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954A463-EC8E-5847-B083-46ED2B2036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0" y="1933200"/>
            <a:ext cx="5202000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tekst 13">
            <a:extLst>
              <a:ext uri="{FF2B5EF4-FFF2-40B4-BE49-F238E27FC236}">
                <a16:creationId xmlns:a16="http://schemas.microsoft.com/office/drawing/2014/main" id="{C75C545F-2236-458A-86F6-73B9E7B8B7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3858318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954A463-EC8E-5847-B083-46ED2B2036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0" y="1933200"/>
            <a:ext cx="3348766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18FB1FE6-1882-1F4B-972F-303EE5A6CD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24045" y="1933200"/>
            <a:ext cx="3348766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Plassholder for innhold 3">
            <a:extLst>
              <a:ext uri="{FF2B5EF4-FFF2-40B4-BE49-F238E27FC236}">
                <a16:creationId xmlns:a16="http://schemas.microsoft.com/office/drawing/2014/main" id="{756B11D1-AC17-F34E-B03E-8B3BBCA1A6A0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129625" y="1933200"/>
            <a:ext cx="3348000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8D852E-2E7A-9F42-A673-7300C8EA5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tekst 13">
            <a:extLst>
              <a:ext uri="{FF2B5EF4-FFF2-40B4-BE49-F238E27FC236}">
                <a16:creationId xmlns:a16="http://schemas.microsoft.com/office/drawing/2014/main" id="{9B426891-3582-4A9B-81F9-8E6E6968AC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2471442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2787">
          <p15:clr>
            <a:srgbClr val="FBAE40"/>
          </p15:clr>
        </p15:guide>
        <p15:guide id="4" pos="2560">
          <p15:clr>
            <a:srgbClr val="FBAE40"/>
          </p15:clr>
        </p15:guide>
        <p15:guide id="5" pos="4897">
          <p15:clr>
            <a:srgbClr val="FBAE40"/>
          </p15:clr>
        </p15:guide>
        <p15:guide id="6" pos="512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og lit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AFC8D52C-7CBC-43AB-B38D-64FC09BC4F5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859712" y="0"/>
            <a:ext cx="4332287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954A463-EC8E-5847-B083-46ED2B2036A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19999" y="1933200"/>
            <a:ext cx="6815863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DBB7903-3F40-4A9D-86F5-F7024DC597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631507"/>
            <a:ext cx="6815862" cy="1019278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13" name="Plassholder for tekst 13">
            <a:extLst>
              <a:ext uri="{FF2B5EF4-FFF2-40B4-BE49-F238E27FC236}">
                <a16:creationId xmlns:a16="http://schemas.microsoft.com/office/drawing/2014/main" id="{6FE5A8EC-6766-4532-B995-555DA93B25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05CF659-7009-41D3-890A-C988EE8A70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17425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4747">
          <p15:clr>
            <a:srgbClr val="FBAE40"/>
          </p15:clr>
        </p15:guide>
        <p15:guide id="4" pos="495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og lite bilde kredite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8FF52738-4E59-48DF-9B25-AD1CFF9994B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859712" y="0"/>
            <a:ext cx="4332287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2184BDD8-EB22-4CFD-BB12-73A6CA8C2E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954A463-EC8E-5847-B083-46ED2B2036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9" y="1933200"/>
            <a:ext cx="6815863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DBB7903-3F40-4A9D-86F5-F7024DC597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631507"/>
            <a:ext cx="6815862" cy="1019278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12" name="Plassholder for tekst 13">
            <a:extLst>
              <a:ext uri="{FF2B5EF4-FFF2-40B4-BE49-F238E27FC236}">
                <a16:creationId xmlns:a16="http://schemas.microsoft.com/office/drawing/2014/main" id="{F7BAD015-1BBA-4149-94F8-21E1C76216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59712" y="5628968"/>
            <a:ext cx="4332287" cy="1229032"/>
          </a:xfrm>
          <a:solidFill>
            <a:schemeClr val="tx2"/>
          </a:solidFill>
        </p:spPr>
        <p:txBody>
          <a:bodyPr wrap="square" lIns="360000" tIns="360000" rIns="720000" bIns="360000" anchor="t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noProof="0"/>
              <a:t>Bildetekst kreditering</a:t>
            </a:r>
          </a:p>
        </p:txBody>
      </p:sp>
      <p:sp>
        <p:nvSpPr>
          <p:cNvPr id="14" name="Plassholder for tekst 13">
            <a:extLst>
              <a:ext uri="{FF2B5EF4-FFF2-40B4-BE49-F238E27FC236}">
                <a16:creationId xmlns:a16="http://schemas.microsoft.com/office/drawing/2014/main" id="{F811E609-4A2A-46A5-9D70-6EDF10A2D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1709663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46">
          <p15:clr>
            <a:srgbClr val="FBAE40"/>
          </p15:clr>
        </p15:guide>
        <p15:guide id="3" pos="4747">
          <p15:clr>
            <a:srgbClr val="FBAE40"/>
          </p15:clr>
        </p15:guide>
        <p15:guide id="4" pos="495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 + tekst -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utendørs, båt, sprinkleranlegg, fly&#10;&#10;Automatisk generert beskrivelse">
            <a:extLst>
              <a:ext uri="{FF2B5EF4-FFF2-40B4-BE49-F238E27FC236}">
                <a16:creationId xmlns:a16="http://schemas.microsoft.com/office/drawing/2014/main" id="{C4E37067-7505-4371-A458-00087D5D35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71" r="28171"/>
          <a:stretch/>
        </p:blipFill>
        <p:spPr>
          <a:xfrm>
            <a:off x="0" y="0"/>
            <a:ext cx="4664364" cy="6858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39725" y="274639"/>
            <a:ext cx="6560456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943872" y="1600201"/>
            <a:ext cx="6536928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1290774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og 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C9F52DD-4A98-4D71-8900-DC57F23D4C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69038" y="0"/>
            <a:ext cx="5922961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954A463-EC8E-5847-B083-46ED2B2036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0" y="1933200"/>
            <a:ext cx="5202000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631507"/>
            <a:ext cx="5202000" cy="1019278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tekst 13">
            <a:extLst>
              <a:ext uri="{FF2B5EF4-FFF2-40B4-BE49-F238E27FC236}">
                <a16:creationId xmlns:a16="http://schemas.microsoft.com/office/drawing/2014/main" id="{25FBC8C8-228E-477B-B58F-9805FED426F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EF5381C-20B7-45B6-B4CA-8B272784A2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01375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og stort bilde kredite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F2086882-4DF4-4FCF-9CFA-D768C6D519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69038" y="0"/>
            <a:ext cx="5922961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F920B60-1C94-4F58-89CA-C6AA11FC753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954A463-EC8E-5847-B083-46ED2B2036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0" y="1933200"/>
            <a:ext cx="5202000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631507"/>
            <a:ext cx="5202000" cy="1019278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tekst 13">
            <a:extLst>
              <a:ext uri="{FF2B5EF4-FFF2-40B4-BE49-F238E27FC236}">
                <a16:creationId xmlns:a16="http://schemas.microsoft.com/office/drawing/2014/main" id="{D30A3569-F534-459A-88C1-6A517D17A9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69038" y="5628968"/>
            <a:ext cx="5922961" cy="1229032"/>
          </a:xfrm>
          <a:solidFill>
            <a:schemeClr val="tx2"/>
          </a:solidFill>
        </p:spPr>
        <p:txBody>
          <a:bodyPr wrap="square" lIns="360000" tIns="360000" rIns="720000" bIns="360000" anchor="t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noProof="0"/>
              <a:t>Bildetekst kreditering</a:t>
            </a:r>
          </a:p>
        </p:txBody>
      </p:sp>
      <p:sp>
        <p:nvSpPr>
          <p:cNvPr id="11" name="Plassholder for tekst 13">
            <a:extLst>
              <a:ext uri="{FF2B5EF4-FFF2-40B4-BE49-F238E27FC236}">
                <a16:creationId xmlns:a16="http://schemas.microsoft.com/office/drawing/2014/main" id="{333722B0-66EF-4EAE-A36E-3DF2AB0FEC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3423659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graf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F2D6B6-A69B-4BDF-8EDB-8EC348BA2D5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25950" y="1984375"/>
            <a:ext cx="7045325" cy="4156075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  <a:lvl2pPr marL="234000" indent="0">
              <a:buNone/>
              <a:defRPr/>
            </a:lvl2pPr>
            <a:lvl3pPr marL="468000" indent="0">
              <a:buNone/>
              <a:defRPr/>
            </a:lvl3pPr>
            <a:lvl4pPr marL="702000" indent="0">
              <a:buNone/>
              <a:defRPr/>
            </a:lvl4pPr>
            <a:lvl5pPr marL="936000" indent="0">
              <a:buNone/>
              <a:defRPr/>
            </a:lvl5pPr>
          </a:lstStyle>
          <a:p>
            <a:pPr lvl="0"/>
            <a:r>
              <a:rPr lang="nb-NO" sz="100"/>
              <a:t> </a:t>
            </a:r>
            <a:endParaRPr lang="en-US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8D852E-2E7A-9F42-A673-7300C8EA5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22" name="Plassholder for tekst 18">
            <a:extLst>
              <a:ext uri="{FF2B5EF4-FFF2-40B4-BE49-F238E27FC236}">
                <a16:creationId xmlns:a16="http://schemas.microsoft.com/office/drawing/2014/main" id="{3C91A1EB-4B86-4BC3-A61C-D93ABE3511E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5987" y="5220000"/>
            <a:ext cx="7046013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24" name="Plassholder for innhold 2">
            <a:extLst>
              <a:ext uri="{FF2B5EF4-FFF2-40B4-BE49-F238E27FC236}">
                <a16:creationId xmlns:a16="http://schemas.microsoft.com/office/drawing/2014/main" id="{450FEC5B-834D-4F5F-A75C-BD4FFA5D70F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9" y="1980000"/>
            <a:ext cx="3350351" cy="4160450"/>
          </a:xfrm>
          <a:solidFill>
            <a:schemeClr val="accent1"/>
          </a:solidFill>
        </p:spPr>
        <p:txBody>
          <a:bodyPr lIns="360000" tIns="360000" rIns="360000" bIns="360000"/>
          <a:lstStyle>
            <a:lvl1pPr marL="0" indent="0">
              <a:buNone/>
              <a:defRPr/>
            </a:lvl1pPr>
            <a:lvl2pPr marL="0">
              <a:buClr>
                <a:schemeClr val="bg1"/>
              </a:buClr>
              <a:defRPr sz="2000"/>
            </a:lvl2pPr>
            <a:lvl3pPr marL="468000">
              <a:buClr>
                <a:schemeClr val="bg1"/>
              </a:buClr>
              <a:defRPr/>
            </a:lvl3pPr>
            <a:lvl4pPr marL="702000">
              <a:buClr>
                <a:schemeClr val="bg1"/>
              </a:buClr>
              <a:defRPr/>
            </a:lvl4pPr>
            <a:lvl5pPr marL="936000">
              <a:buClr>
                <a:schemeClr val="bg1"/>
              </a:buCl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ekst 13">
            <a:extLst>
              <a:ext uri="{FF2B5EF4-FFF2-40B4-BE49-F238E27FC236}">
                <a16:creationId xmlns:a16="http://schemas.microsoft.com/office/drawing/2014/main" id="{27999DD9-0D5A-4743-9035-54FA74A45D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7A8E1B1-1990-4BD1-9B7C-C0809F69D6CC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4600363" y="2168011"/>
            <a:ext cx="6716925" cy="2888178"/>
          </a:xfrm>
        </p:spPr>
        <p:txBody>
          <a:bodyPr/>
          <a:lstStyle/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660228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2787">
          <p15:clr>
            <a:srgbClr val="FBAE40"/>
          </p15:clr>
        </p15:guide>
        <p15:guide id="4" pos="2560">
          <p15:clr>
            <a:srgbClr val="FBAE40"/>
          </p15:clr>
        </p15:guide>
        <p15:guide id="5" pos="4897">
          <p15:clr>
            <a:srgbClr val="FBAE40"/>
          </p15:clr>
        </p15:guide>
        <p15:guide id="6" pos="512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graf og tekst alterna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0A8410F-D36D-41CF-9616-FDE9DB5C511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29587" y="1984375"/>
            <a:ext cx="3348000" cy="4156075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80988C-C20E-4FBB-A80E-404A6E7C21D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9138" y="1984375"/>
            <a:ext cx="7054850" cy="4156075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  <a:lvl2pPr marL="234000" indent="0">
              <a:buNone/>
              <a:defRPr/>
            </a:lvl2pPr>
            <a:lvl3pPr marL="468000" indent="0">
              <a:buNone/>
              <a:defRPr/>
            </a:lvl3pPr>
            <a:lvl4pPr marL="702000" indent="0">
              <a:buNone/>
              <a:defRPr/>
            </a:lvl4pPr>
            <a:lvl5pPr marL="936000" indent="0">
              <a:buNone/>
              <a:defRPr/>
            </a:lvl5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8D852E-2E7A-9F42-A673-7300C8EA5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22" name="Plassholder for tekst 18">
            <a:extLst>
              <a:ext uri="{FF2B5EF4-FFF2-40B4-BE49-F238E27FC236}">
                <a16:creationId xmlns:a16="http://schemas.microsoft.com/office/drawing/2014/main" id="{3C91A1EB-4B86-4BC3-A61C-D93ABE3511E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0000" y="5220000"/>
            <a:ext cx="7053988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12" name="Plassholder for tekst 13">
            <a:extLst>
              <a:ext uri="{FF2B5EF4-FFF2-40B4-BE49-F238E27FC236}">
                <a16:creationId xmlns:a16="http://schemas.microsoft.com/office/drawing/2014/main" id="{27999DD9-0D5A-4743-9035-54FA74A45D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7A8E1B1-1990-4BD1-9B7C-C0809F69D6CC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902351" y="2168011"/>
            <a:ext cx="6716925" cy="2888178"/>
          </a:xfrm>
        </p:spPr>
        <p:txBody>
          <a:bodyPr/>
          <a:lstStyle/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4" name="Plassholder for tekst 18">
            <a:extLst>
              <a:ext uri="{FF2B5EF4-FFF2-40B4-BE49-F238E27FC236}">
                <a16:creationId xmlns:a16="http://schemas.microsoft.com/office/drawing/2014/main" id="{593EFFD8-D333-45F6-A768-1FCA56971DF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129626" y="5220000"/>
            <a:ext cx="3348000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15" name="Plassholder for tekst 18">
            <a:extLst>
              <a:ext uri="{FF2B5EF4-FFF2-40B4-BE49-F238E27FC236}">
                <a16:creationId xmlns:a16="http://schemas.microsoft.com/office/drawing/2014/main" id="{CA5090C5-3A0D-4EE7-B260-2B6F8CBEE16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29626" y="1984375"/>
            <a:ext cx="3348000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7A7B1C2-0F4B-4101-B9DB-D1E682A0CBCC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8304001" y="2715865"/>
            <a:ext cx="2880000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53545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2787">
          <p15:clr>
            <a:srgbClr val="FBAE40"/>
          </p15:clr>
        </p15:guide>
        <p15:guide id="4" pos="2560">
          <p15:clr>
            <a:srgbClr val="FBAE40"/>
          </p15:clr>
        </p15:guide>
        <p15:guide id="5" pos="4897">
          <p15:clr>
            <a:srgbClr val="FBAE40"/>
          </p15:clr>
        </p15:guide>
        <p15:guide id="6" pos="512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grafer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694E1C6-3ED3-4491-BC15-AE411C88CC8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29626" y="1983600"/>
            <a:ext cx="3348000" cy="415685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AFC0DB-5738-40F0-B8A9-44FF1369345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4363" y="1983600"/>
            <a:ext cx="3348000" cy="415685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8D852E-2E7A-9F42-A673-7300C8EA5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22" name="Plassholder for tekst 18">
            <a:extLst>
              <a:ext uri="{FF2B5EF4-FFF2-40B4-BE49-F238E27FC236}">
                <a16:creationId xmlns:a16="http://schemas.microsoft.com/office/drawing/2014/main" id="{3C91A1EB-4B86-4BC3-A61C-D93ABE3511E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5988" y="5220000"/>
            <a:ext cx="3348000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23" name="Plassholder for tekst 18">
            <a:extLst>
              <a:ext uri="{FF2B5EF4-FFF2-40B4-BE49-F238E27FC236}">
                <a16:creationId xmlns:a16="http://schemas.microsoft.com/office/drawing/2014/main" id="{A875BC79-D654-4C41-B2F5-B91060AB20A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25988" y="1984375"/>
            <a:ext cx="3348000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24" name="Plassholder for innhold 2">
            <a:extLst>
              <a:ext uri="{FF2B5EF4-FFF2-40B4-BE49-F238E27FC236}">
                <a16:creationId xmlns:a16="http://schemas.microsoft.com/office/drawing/2014/main" id="{450FEC5B-834D-4F5F-A75C-BD4FFA5D70F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999" y="1980000"/>
            <a:ext cx="3350351" cy="4160450"/>
          </a:xfrm>
          <a:solidFill>
            <a:schemeClr val="accent1"/>
          </a:solidFill>
        </p:spPr>
        <p:txBody>
          <a:bodyPr lIns="360000" tIns="360000" rIns="360000" bIns="360000"/>
          <a:lstStyle>
            <a:lvl1pPr marL="0" indent="0">
              <a:buNone/>
              <a:defRPr/>
            </a:lvl1pPr>
            <a:lvl2pPr marL="0">
              <a:buClr>
                <a:schemeClr val="bg1"/>
              </a:buClr>
              <a:defRPr sz="2000"/>
            </a:lvl2pPr>
            <a:lvl3pPr marL="468000">
              <a:buClr>
                <a:schemeClr val="bg1"/>
              </a:buClr>
              <a:defRPr/>
            </a:lvl3pPr>
            <a:lvl4pPr marL="702000">
              <a:buClr>
                <a:schemeClr val="bg1"/>
              </a:buClr>
              <a:defRPr/>
            </a:lvl4pPr>
            <a:lvl5pPr marL="936000">
              <a:buClr>
                <a:schemeClr val="bg1"/>
              </a:buCl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6" name="Plassholder for tekst 13">
            <a:extLst>
              <a:ext uri="{FF2B5EF4-FFF2-40B4-BE49-F238E27FC236}">
                <a16:creationId xmlns:a16="http://schemas.microsoft.com/office/drawing/2014/main" id="{6D40D958-14BE-41EA-8032-35A528F15B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A6291DF9-E7EC-44DD-88E6-EB2B26CB57A6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4600363" y="2715865"/>
            <a:ext cx="2880000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32" name="Plassholder for tekst 18">
            <a:extLst>
              <a:ext uri="{FF2B5EF4-FFF2-40B4-BE49-F238E27FC236}">
                <a16:creationId xmlns:a16="http://schemas.microsoft.com/office/drawing/2014/main" id="{530C8A59-B4DB-4B01-973E-0B897409218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129626" y="5220000"/>
            <a:ext cx="3348000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33" name="Plassholder for tekst 18">
            <a:extLst>
              <a:ext uri="{FF2B5EF4-FFF2-40B4-BE49-F238E27FC236}">
                <a16:creationId xmlns:a16="http://schemas.microsoft.com/office/drawing/2014/main" id="{A2A33D77-6968-4EDE-9FD6-A396FA41B3F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29626" y="1984375"/>
            <a:ext cx="3348000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E57E1672-5A91-480C-BB2D-116381360421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8304001" y="2715865"/>
            <a:ext cx="2880000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32301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2787">
          <p15:clr>
            <a:srgbClr val="FBAE40"/>
          </p15:clr>
        </p15:guide>
        <p15:guide id="4" pos="2560">
          <p15:clr>
            <a:srgbClr val="FBAE40"/>
          </p15:clr>
        </p15:guide>
        <p15:guide id="5" pos="4897">
          <p15:clr>
            <a:srgbClr val="FBAE40"/>
          </p15:clr>
        </p15:guide>
        <p15:guide id="6" pos="512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graf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06B4E479-CAA3-44CE-B515-AD833BA28B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75625" y="1984375"/>
            <a:ext cx="5202000" cy="4156075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  <a:lvl2pPr marL="234000" indent="0">
              <a:buNone/>
              <a:defRPr/>
            </a:lvl2pPr>
            <a:lvl3pPr marL="468000" indent="0">
              <a:buNone/>
              <a:defRPr/>
            </a:lvl3pPr>
            <a:lvl4pPr marL="702000" indent="0">
              <a:buNone/>
              <a:defRPr/>
            </a:lvl4pPr>
            <a:lvl5pPr marL="936000" indent="0">
              <a:buNone/>
              <a:defRPr/>
            </a:lvl5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8CAAD7-3319-4DBE-948C-11D59542328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9139" y="1984375"/>
            <a:ext cx="5202000" cy="4156075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  <a:lvl2pPr marL="234000" indent="0">
              <a:buNone/>
              <a:defRPr/>
            </a:lvl2pPr>
            <a:lvl3pPr marL="468000" indent="0">
              <a:buNone/>
              <a:defRPr/>
            </a:lvl3pPr>
            <a:lvl4pPr marL="702000" indent="0">
              <a:buNone/>
              <a:defRPr/>
            </a:lvl4pPr>
            <a:lvl5pPr marL="936000" indent="0">
              <a:buNone/>
              <a:defRPr/>
            </a:lvl5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tekst 18">
            <a:extLst>
              <a:ext uri="{FF2B5EF4-FFF2-40B4-BE49-F238E27FC236}">
                <a16:creationId xmlns:a16="http://schemas.microsoft.com/office/drawing/2014/main" id="{FD7CD785-285C-41D8-AAB5-7A05424DE28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20000" y="5220000"/>
            <a:ext cx="5202000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14" name="Plassholder for tekst 18">
            <a:extLst>
              <a:ext uri="{FF2B5EF4-FFF2-40B4-BE49-F238E27FC236}">
                <a16:creationId xmlns:a16="http://schemas.microsoft.com/office/drawing/2014/main" id="{715319DC-D483-4937-82A8-8F76BD5FFAA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0000" y="1984376"/>
            <a:ext cx="5201131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16" name="Plassholder for tekst 13">
            <a:extLst>
              <a:ext uri="{FF2B5EF4-FFF2-40B4-BE49-F238E27FC236}">
                <a16:creationId xmlns:a16="http://schemas.microsoft.com/office/drawing/2014/main" id="{D94F30A8-221D-4524-92F0-8DB7952D0D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DE9000ED-1131-46B5-A43A-B36B38C86DA0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890729" y="2715865"/>
            <a:ext cx="4660759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4" name="Plassholder for tekst 18">
            <a:extLst>
              <a:ext uri="{FF2B5EF4-FFF2-40B4-BE49-F238E27FC236}">
                <a16:creationId xmlns:a16="http://schemas.microsoft.com/office/drawing/2014/main" id="{0461257D-6E01-486E-B3DC-DA92A00EDF5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74729" y="5220000"/>
            <a:ext cx="5202000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25" name="Plassholder for tekst 18">
            <a:extLst>
              <a:ext uri="{FF2B5EF4-FFF2-40B4-BE49-F238E27FC236}">
                <a16:creationId xmlns:a16="http://schemas.microsoft.com/office/drawing/2014/main" id="{9A5F9A21-48F0-4C9F-B50D-658EE22B0EF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74729" y="1984376"/>
            <a:ext cx="5201131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FA9A7B2-A114-4AEA-AC5D-A073188873EC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445458" y="2715865"/>
            <a:ext cx="4660759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42795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graf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2BC399BA-F0AF-4F84-BAC8-2C3EFC6D745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29625" y="1984375"/>
            <a:ext cx="3348000" cy="4156075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0F87D375-B033-4753-8CD6-4C35D06A3C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5988" y="1984375"/>
            <a:ext cx="3348000" cy="4156075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D2C5AD-B6B4-468F-A77C-3E5DE702E98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9138" y="1984375"/>
            <a:ext cx="3348000" cy="4156075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8D852E-2E7A-9F42-A673-7300C8EA5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4" name="Plassholder for tekst 18">
            <a:extLst>
              <a:ext uri="{FF2B5EF4-FFF2-40B4-BE49-F238E27FC236}">
                <a16:creationId xmlns:a16="http://schemas.microsoft.com/office/drawing/2014/main" id="{B75737E8-545F-4CAE-9F3B-55D0E4C4FE8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20000" y="5220000"/>
            <a:ext cx="3348000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15" name="Plassholder for tekst 18">
            <a:extLst>
              <a:ext uri="{FF2B5EF4-FFF2-40B4-BE49-F238E27FC236}">
                <a16:creationId xmlns:a16="http://schemas.microsoft.com/office/drawing/2014/main" id="{3A6E2646-DB79-4BFB-8574-206EBAB927F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0000" y="1984375"/>
            <a:ext cx="3348000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18" name="Plassholder for tekst 18">
            <a:extLst>
              <a:ext uri="{FF2B5EF4-FFF2-40B4-BE49-F238E27FC236}">
                <a16:creationId xmlns:a16="http://schemas.microsoft.com/office/drawing/2014/main" id="{D001B536-4AA3-4298-9B69-86BAD665A57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29625" y="5220000"/>
            <a:ext cx="3348000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19" name="Plassholder for tekst 18">
            <a:extLst>
              <a:ext uri="{FF2B5EF4-FFF2-40B4-BE49-F238E27FC236}">
                <a16:creationId xmlns:a16="http://schemas.microsoft.com/office/drawing/2014/main" id="{BE3A00A8-584F-4916-B4A2-69FE8A4B64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9625" y="1984375"/>
            <a:ext cx="3348000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22" name="Plassholder for tekst 18">
            <a:extLst>
              <a:ext uri="{FF2B5EF4-FFF2-40B4-BE49-F238E27FC236}">
                <a16:creationId xmlns:a16="http://schemas.microsoft.com/office/drawing/2014/main" id="{3C91A1EB-4B86-4BC3-A61C-D93ABE3511E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5988" y="5220000"/>
            <a:ext cx="3348000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23" name="Plassholder for tekst 18">
            <a:extLst>
              <a:ext uri="{FF2B5EF4-FFF2-40B4-BE49-F238E27FC236}">
                <a16:creationId xmlns:a16="http://schemas.microsoft.com/office/drawing/2014/main" id="{A875BC79-D654-4C41-B2F5-B91060AB20A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25988" y="1984375"/>
            <a:ext cx="3348000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25" name="Plassholder for tekst 13">
            <a:extLst>
              <a:ext uri="{FF2B5EF4-FFF2-40B4-BE49-F238E27FC236}">
                <a16:creationId xmlns:a16="http://schemas.microsoft.com/office/drawing/2014/main" id="{628FBC12-7624-4CF3-87C9-8A32D803D9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BF7B160C-BF61-4493-A921-9359760C3BBC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894375" y="2715863"/>
            <a:ext cx="2880000" cy="234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0E740BBB-3FC3-4E1A-865F-8DF8562E8539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4600363" y="2715863"/>
            <a:ext cx="2880000" cy="234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98185357-FF86-45EB-B748-3AE7792C8C6D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8304000" y="2715863"/>
            <a:ext cx="2880000" cy="234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3110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2787">
          <p15:clr>
            <a:srgbClr val="FBAE40"/>
          </p15:clr>
        </p15:guide>
        <p15:guide id="4" pos="2560">
          <p15:clr>
            <a:srgbClr val="FBAE40"/>
          </p15:clr>
        </p15:guide>
        <p15:guide id="5" pos="4897">
          <p15:clr>
            <a:srgbClr val="FBAE40"/>
          </p15:clr>
        </p15:guide>
        <p15:guide id="6" pos="512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graf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697BF4C8-418A-4052-BE3F-56B58944365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495400" y="1983600"/>
            <a:ext cx="2422800" cy="416160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62822465-B312-49F0-B446-2F7416F0AC3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266669" y="1983600"/>
            <a:ext cx="2422800" cy="416160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9E9B29C-1D16-4B46-82AB-14FC4BA3536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050400" y="1983600"/>
            <a:ext cx="2422800" cy="416160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7CCC4B-6263-40B6-9846-8BF233273D0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18377" y="1983600"/>
            <a:ext cx="2422800" cy="4161600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9137" y="6419783"/>
            <a:ext cx="10323157" cy="187102"/>
          </a:xfrm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tekst 18">
            <a:extLst>
              <a:ext uri="{FF2B5EF4-FFF2-40B4-BE49-F238E27FC236}">
                <a16:creationId xmlns:a16="http://schemas.microsoft.com/office/drawing/2014/main" id="{5BF4D152-F884-4439-8266-0180B59AD50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9996" y="5220000"/>
            <a:ext cx="2423399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13" name="Plassholder for tekst 18">
            <a:extLst>
              <a:ext uri="{FF2B5EF4-FFF2-40B4-BE49-F238E27FC236}">
                <a16:creationId xmlns:a16="http://schemas.microsoft.com/office/drawing/2014/main" id="{827C410A-334F-4B9E-AFAC-49D13200D9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9996" y="1984375"/>
            <a:ext cx="2423399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24" name="Plassholder for tekst 13">
            <a:extLst>
              <a:ext uri="{FF2B5EF4-FFF2-40B4-BE49-F238E27FC236}">
                <a16:creationId xmlns:a16="http://schemas.microsoft.com/office/drawing/2014/main" id="{158B584C-9242-4082-AB66-E8818AC707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751EABD1-5D9E-4878-AB31-EDC39AF9F520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899997" y="2715865"/>
            <a:ext cx="2057516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27" name="Plassholder for tekst 18">
            <a:extLst>
              <a:ext uri="{FF2B5EF4-FFF2-40B4-BE49-F238E27FC236}">
                <a16:creationId xmlns:a16="http://schemas.microsoft.com/office/drawing/2014/main" id="{ABB47701-D3F7-4392-B15E-CCCA2D1B5CB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493822" y="5220000"/>
            <a:ext cx="2423399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28" name="Plassholder for tekst 18">
            <a:extLst>
              <a:ext uri="{FF2B5EF4-FFF2-40B4-BE49-F238E27FC236}">
                <a16:creationId xmlns:a16="http://schemas.microsoft.com/office/drawing/2014/main" id="{902FEE4F-2E4C-474A-A0DC-65B0BF0EBEC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93822" y="1984375"/>
            <a:ext cx="2423399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1FADDE8-2990-43EB-B933-A56D1E589FB8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3673823" y="2715865"/>
            <a:ext cx="2057516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43" name="Plassholder for tekst 18">
            <a:extLst>
              <a:ext uri="{FF2B5EF4-FFF2-40B4-BE49-F238E27FC236}">
                <a16:creationId xmlns:a16="http://schemas.microsoft.com/office/drawing/2014/main" id="{90025967-CBD9-496A-9424-F3DE94BD2502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267648" y="5220000"/>
            <a:ext cx="2423399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44" name="Plassholder for tekst 18">
            <a:extLst>
              <a:ext uri="{FF2B5EF4-FFF2-40B4-BE49-F238E27FC236}">
                <a16:creationId xmlns:a16="http://schemas.microsoft.com/office/drawing/2014/main" id="{1A53525B-BD87-465E-9599-2A7DF91F353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67648" y="1984375"/>
            <a:ext cx="2423399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E391116F-F552-49E7-8737-CD467E97ECCF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447649" y="2715865"/>
            <a:ext cx="2057516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47" name="Plassholder for tekst 18">
            <a:extLst>
              <a:ext uri="{FF2B5EF4-FFF2-40B4-BE49-F238E27FC236}">
                <a16:creationId xmlns:a16="http://schemas.microsoft.com/office/drawing/2014/main" id="{724A212F-0A22-4F28-9566-7C806B40212B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50224" y="5220000"/>
            <a:ext cx="2423399" cy="920450"/>
          </a:xfrm>
          <a:solidFill>
            <a:srgbClr val="F8F8F8"/>
          </a:solidFill>
        </p:spPr>
        <p:txBody>
          <a:bodyPr vert="horz" lIns="180000" tIns="72000" rIns="180000" bIns="180000" rtlCol="0">
            <a:noAutofit/>
          </a:bodyPr>
          <a:lstStyle>
            <a:lvl1pPr marL="0" indent="0">
              <a:buNone/>
              <a:defRPr lang="nb-NO" sz="900" smtClean="0"/>
            </a:lvl1pPr>
            <a:lvl2pPr>
              <a:defRPr lang="nb-NO" sz="1000" smtClean="0"/>
            </a:lvl2pPr>
            <a:lvl3pPr>
              <a:defRPr lang="nb-NO" sz="1000" smtClean="0"/>
            </a:lvl3pPr>
            <a:lvl4pPr>
              <a:defRPr lang="nb-NO" sz="1000" smtClean="0"/>
            </a:lvl4pPr>
            <a:lvl5pPr>
              <a:defRPr lang="nb-NO" sz="1000"/>
            </a:lvl5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48" name="Plassholder for tekst 18">
            <a:extLst>
              <a:ext uri="{FF2B5EF4-FFF2-40B4-BE49-F238E27FC236}">
                <a16:creationId xmlns:a16="http://schemas.microsoft.com/office/drawing/2014/main" id="{90C79504-B594-4346-86B8-72328BFE8E4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50224" y="1984375"/>
            <a:ext cx="2423399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Graftittel</a:t>
            </a:r>
          </a:p>
        </p:txBody>
      </p:sp>
      <p:sp>
        <p:nvSpPr>
          <p:cNvPr id="49" name="Content Placeholder 3">
            <a:extLst>
              <a:ext uri="{FF2B5EF4-FFF2-40B4-BE49-F238E27FC236}">
                <a16:creationId xmlns:a16="http://schemas.microsoft.com/office/drawing/2014/main" id="{80345C78-6813-4D94-9F11-5A1FDF391A22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9230225" y="2715865"/>
            <a:ext cx="2057516" cy="234032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</p:spTree>
    <p:extLst>
      <p:ext uri="{BB962C8B-B14F-4D97-AF65-F5344CB8AC3E}">
        <p14:creationId xmlns:p14="http://schemas.microsoft.com/office/powerpoint/2010/main" val="858146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  <p15:guide id="5" pos="2201">
          <p15:clr>
            <a:srgbClr val="FBAE40"/>
          </p15:clr>
        </p15:guide>
        <p15:guide id="6" pos="1979">
          <p15:clr>
            <a:srgbClr val="FBAE40"/>
          </p15:clr>
        </p15:guide>
        <p15:guide id="7" pos="5474">
          <p15:clr>
            <a:srgbClr val="FBAE40"/>
          </p15:clr>
        </p15:guide>
        <p15:guide id="8" pos="569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24" name="Plassholder for tekst 13">
            <a:extLst>
              <a:ext uri="{FF2B5EF4-FFF2-40B4-BE49-F238E27FC236}">
                <a16:creationId xmlns:a16="http://schemas.microsoft.com/office/drawing/2014/main" id="{158B584C-9242-4082-AB66-E8818AC707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5B2D0E-5E04-4066-9799-DB1EE1AAD7A0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20725" y="1984375"/>
            <a:ext cx="2422669" cy="2080193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DACDD3E-88B0-4E0B-A1B7-29E8C58BBB1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20725" y="4064000"/>
            <a:ext cx="2420938" cy="2076450"/>
          </a:xfrm>
          <a:solidFill>
            <a:schemeClr val="accent1"/>
          </a:solidFill>
        </p:spPr>
        <p:txBody>
          <a:bodyPr lIns="180000" tIns="180000" rIns="180000" bIns="180000">
            <a:noAutofit/>
          </a:bodyPr>
          <a:lstStyle>
            <a:lvl1pPr marL="179388" indent="-179388">
              <a:spcBef>
                <a:spcPts val="800"/>
              </a:spcBef>
              <a:buClr>
                <a:schemeClr val="bg1"/>
              </a:buClr>
              <a:defRPr sz="18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44" name="Picture Placeholder 11">
            <a:extLst>
              <a:ext uri="{FF2B5EF4-FFF2-40B4-BE49-F238E27FC236}">
                <a16:creationId xmlns:a16="http://schemas.microsoft.com/office/drawing/2014/main" id="{3E2F2529-6BAF-439A-A7FD-F99C443E924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494089" y="1984375"/>
            <a:ext cx="2422670" cy="2080193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869BAEFB-4306-4BDB-A353-7BF5CCAC71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494179" y="4064000"/>
            <a:ext cx="2420939" cy="2076450"/>
          </a:xfrm>
          <a:solidFill>
            <a:schemeClr val="accent1"/>
          </a:solidFill>
        </p:spPr>
        <p:txBody>
          <a:bodyPr lIns="180000" tIns="180000" rIns="180000" bIns="180000">
            <a:noAutofit/>
          </a:bodyPr>
          <a:lstStyle>
            <a:lvl1pPr marL="179388" indent="-179388">
              <a:spcBef>
                <a:spcPts val="800"/>
              </a:spcBef>
              <a:buClr>
                <a:schemeClr val="bg1"/>
              </a:buClr>
              <a:defRPr sz="18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46" name="Picture Placeholder 11">
            <a:extLst>
              <a:ext uri="{FF2B5EF4-FFF2-40B4-BE49-F238E27FC236}">
                <a16:creationId xmlns:a16="http://schemas.microsoft.com/office/drawing/2014/main" id="{ED2444A2-6D17-438E-9C4C-6169E08BEDF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275243" y="1984375"/>
            <a:ext cx="2422671" cy="2080193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303E5062-B15B-4193-8FEF-9858726FC26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275389" y="4064000"/>
            <a:ext cx="2420940" cy="2076450"/>
          </a:xfrm>
          <a:solidFill>
            <a:schemeClr val="accent1"/>
          </a:solidFill>
        </p:spPr>
        <p:txBody>
          <a:bodyPr lIns="180000" tIns="180000" rIns="180000" bIns="180000">
            <a:noAutofit/>
          </a:bodyPr>
          <a:lstStyle>
            <a:lvl1pPr marL="179388" indent="-179388">
              <a:spcBef>
                <a:spcPts val="800"/>
              </a:spcBef>
              <a:buClr>
                <a:schemeClr val="bg1"/>
              </a:buClr>
              <a:defRPr sz="18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48" name="Picture Placeholder 11">
            <a:extLst>
              <a:ext uri="{FF2B5EF4-FFF2-40B4-BE49-F238E27FC236}">
                <a16:creationId xmlns:a16="http://schemas.microsoft.com/office/drawing/2014/main" id="{06BFCAB3-DA6F-4954-A06F-4B935B86C299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9054960" y="1984375"/>
            <a:ext cx="2416315" cy="2080193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CF5D25C2-2C87-4142-BE8D-9F5C55DCC5D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55178" y="4064000"/>
            <a:ext cx="2414588" cy="2076450"/>
          </a:xfrm>
          <a:solidFill>
            <a:schemeClr val="accent1"/>
          </a:solidFill>
        </p:spPr>
        <p:txBody>
          <a:bodyPr lIns="180000" tIns="180000" rIns="180000" bIns="180000">
            <a:noAutofit/>
          </a:bodyPr>
          <a:lstStyle>
            <a:lvl1pPr marL="179388" indent="-179388">
              <a:spcBef>
                <a:spcPts val="800"/>
              </a:spcBef>
              <a:buClr>
                <a:schemeClr val="bg1"/>
              </a:buClr>
              <a:defRPr sz="18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156466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  <p15:guide id="5" pos="2201">
          <p15:clr>
            <a:srgbClr val="FBAE40"/>
          </p15:clr>
        </p15:guide>
        <p15:guide id="6" pos="1979">
          <p15:clr>
            <a:srgbClr val="FBAE40"/>
          </p15:clr>
        </p15:guide>
        <p15:guide id="7" pos="5474">
          <p15:clr>
            <a:srgbClr val="FBAE40"/>
          </p15:clr>
        </p15:guide>
        <p15:guide id="8" pos="5698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grå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24" name="Plassholder for tekst 13">
            <a:extLst>
              <a:ext uri="{FF2B5EF4-FFF2-40B4-BE49-F238E27FC236}">
                <a16:creationId xmlns:a16="http://schemas.microsoft.com/office/drawing/2014/main" id="{158B584C-9242-4082-AB66-E8818AC707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5B2D0E-5E04-4066-9799-DB1EE1AAD7A0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20725" y="1984375"/>
            <a:ext cx="2422669" cy="2080193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DACDD3E-88B0-4E0B-A1B7-29E8C58BBB1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20725" y="4064000"/>
            <a:ext cx="2420938" cy="2076450"/>
          </a:xfrm>
          <a:solidFill>
            <a:schemeClr val="accent1"/>
          </a:solidFill>
        </p:spPr>
        <p:txBody>
          <a:bodyPr lIns="180000" tIns="180000" rIns="180000" bIns="180000">
            <a:noAutofit/>
          </a:bodyPr>
          <a:lstStyle>
            <a:lvl1pPr marL="179388" indent="-179388">
              <a:spcBef>
                <a:spcPts val="800"/>
              </a:spcBef>
              <a:buClr>
                <a:schemeClr val="bg1"/>
              </a:buClr>
              <a:defRPr sz="18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44" name="Picture Placeholder 11">
            <a:extLst>
              <a:ext uri="{FF2B5EF4-FFF2-40B4-BE49-F238E27FC236}">
                <a16:creationId xmlns:a16="http://schemas.microsoft.com/office/drawing/2014/main" id="{3E2F2529-6BAF-439A-A7FD-F99C443E924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3494089" y="1984375"/>
            <a:ext cx="2422670" cy="2080193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869BAEFB-4306-4BDB-A353-7BF5CCAC710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494179" y="4064000"/>
            <a:ext cx="2420939" cy="2076450"/>
          </a:xfrm>
          <a:solidFill>
            <a:schemeClr val="accent1"/>
          </a:solidFill>
        </p:spPr>
        <p:txBody>
          <a:bodyPr lIns="180000" tIns="180000" rIns="180000" bIns="180000">
            <a:noAutofit/>
          </a:bodyPr>
          <a:lstStyle>
            <a:lvl1pPr marL="179388" indent="-179388">
              <a:spcBef>
                <a:spcPts val="800"/>
              </a:spcBef>
              <a:buClr>
                <a:schemeClr val="bg1"/>
              </a:buClr>
              <a:defRPr sz="18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46" name="Picture Placeholder 11">
            <a:extLst>
              <a:ext uri="{FF2B5EF4-FFF2-40B4-BE49-F238E27FC236}">
                <a16:creationId xmlns:a16="http://schemas.microsoft.com/office/drawing/2014/main" id="{ED2444A2-6D17-438E-9C4C-6169E08BEDF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275243" y="1984375"/>
            <a:ext cx="2422671" cy="2080193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303E5062-B15B-4193-8FEF-9858726FC26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275389" y="4064000"/>
            <a:ext cx="2420940" cy="2076450"/>
          </a:xfrm>
          <a:solidFill>
            <a:schemeClr val="accent1"/>
          </a:solidFill>
        </p:spPr>
        <p:txBody>
          <a:bodyPr lIns="180000" tIns="180000" rIns="180000" bIns="180000">
            <a:noAutofit/>
          </a:bodyPr>
          <a:lstStyle>
            <a:lvl1pPr marL="179388" indent="-179388">
              <a:spcBef>
                <a:spcPts val="800"/>
              </a:spcBef>
              <a:buClr>
                <a:schemeClr val="bg1"/>
              </a:buClr>
              <a:defRPr sz="18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48" name="Picture Placeholder 11">
            <a:extLst>
              <a:ext uri="{FF2B5EF4-FFF2-40B4-BE49-F238E27FC236}">
                <a16:creationId xmlns:a16="http://schemas.microsoft.com/office/drawing/2014/main" id="{06BFCAB3-DA6F-4954-A06F-4B935B86C299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9054960" y="1984375"/>
            <a:ext cx="2416315" cy="2080193"/>
          </a:xfrm>
        </p:spPr>
        <p:txBody>
          <a:bodyPr/>
          <a:lstStyle/>
          <a:p>
            <a:r>
              <a:rPr lang="nb-NO" noProof="0"/>
              <a:t>Klikk på ikonet for å legge til et bilde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CF5D25C2-2C87-4142-BE8D-9F5C55DCC5D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55178" y="4064000"/>
            <a:ext cx="2414588" cy="2076450"/>
          </a:xfrm>
          <a:solidFill>
            <a:schemeClr val="accent1"/>
          </a:solidFill>
        </p:spPr>
        <p:txBody>
          <a:bodyPr lIns="180000" tIns="180000" rIns="180000" bIns="180000">
            <a:noAutofit/>
          </a:bodyPr>
          <a:lstStyle>
            <a:lvl1pPr marL="179388" indent="-179388">
              <a:spcBef>
                <a:spcPts val="800"/>
              </a:spcBef>
              <a:buClr>
                <a:schemeClr val="bg1"/>
              </a:buClr>
              <a:defRPr sz="18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951388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  <p15:guide id="5" pos="2201">
          <p15:clr>
            <a:srgbClr val="FBAE40"/>
          </p15:clr>
        </p15:guide>
        <p15:guide id="6" pos="1979">
          <p15:clr>
            <a:srgbClr val="FBAE40"/>
          </p15:clr>
        </p15:guide>
        <p15:guide id="7" pos="5474">
          <p15:clr>
            <a:srgbClr val="FBAE40"/>
          </p15:clr>
        </p15:guide>
        <p15:guide id="8" pos="569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+ tekst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1">
            <a:extLst>
              <a:ext uri="{FF2B5EF4-FFF2-40B4-BE49-F238E27FC236}">
                <a16:creationId xmlns:a16="http://schemas.microsoft.com/office/drawing/2014/main" id="{3B9E30B0-7286-41E4-AB29-38D9A819C23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84" t="28151" r="7124" b="10500"/>
          <a:stretch/>
        </p:blipFill>
        <p:spPr bwMode="auto">
          <a:xfrm>
            <a:off x="0" y="0"/>
            <a:ext cx="471054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39725" y="274639"/>
            <a:ext cx="6560456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943872" y="1600201"/>
            <a:ext cx="6536928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E4E8F429-805F-4F6C-916D-746CAF201E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0" y="0"/>
            <a:ext cx="4496680" cy="6858000"/>
          </a:xfrm>
          <a:noFill/>
        </p:spPr>
        <p:txBody>
          <a:bodyPr anchor="ctr">
            <a:normAutofit/>
          </a:bodyPr>
          <a:lstStyle>
            <a:lvl1pPr>
              <a:defRPr sz="2667" b="0" u="none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nb-NO" dirty="0"/>
          </a:p>
        </p:txBody>
      </p:sp>
      <p:pic>
        <p:nvPicPr>
          <p:cNvPr id="5" name="Graphic 2">
            <a:extLst>
              <a:ext uri="{FF2B5EF4-FFF2-40B4-BE49-F238E27FC236}">
                <a16:creationId xmlns:a16="http://schemas.microsoft.com/office/drawing/2014/main" id="{0FAFC9FF-7882-4405-A106-91DCA90DB4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0074" y="6343650"/>
            <a:ext cx="1022492" cy="297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3022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lite bilde gu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0">
            <a:extLst>
              <a:ext uri="{FF2B5EF4-FFF2-40B4-BE49-F238E27FC236}">
                <a16:creationId xmlns:a16="http://schemas.microsoft.com/office/drawing/2014/main" id="{8CB7E643-72CA-42D3-B8F4-B12BAD4ACC1B}"/>
              </a:ext>
            </a:extLst>
          </p:cNvPr>
          <p:cNvSpPr/>
          <p:nvPr userDrawn="1"/>
        </p:nvSpPr>
        <p:spPr>
          <a:xfrm>
            <a:off x="0" y="4615200"/>
            <a:ext cx="4615200" cy="2242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Bilde">
            <a:extLst>
              <a:ext uri="{FF2B5EF4-FFF2-40B4-BE49-F238E27FC236}">
                <a16:creationId xmlns:a16="http://schemas.microsoft.com/office/drawing/2014/main" id="{70C5FD86-6FDB-C641-B847-0B378C3B4E1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4615200" cy="4615200"/>
          </a:xfrm>
          <a:solidFill>
            <a:schemeClr val="bg2"/>
          </a:solidFill>
        </p:spPr>
        <p:txBody>
          <a:bodyPr lIns="720000" tIns="720000" rIns="720000" bIns="720000"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9C8A02EF-6CF4-6F4B-8683-956759D41FB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5197" y="631507"/>
            <a:ext cx="6138003" cy="5508943"/>
          </a:xfrm>
          <a:noFill/>
        </p:spPr>
        <p:txBody>
          <a:bodyPr lIns="0" tIns="0" rIns="0" bIns="0"/>
          <a:lstStyle>
            <a:lvl1pPr marL="0" indent="0">
              <a:buNone/>
              <a:defRPr sz="3000"/>
            </a:lvl1pPr>
            <a:lvl2pPr marL="0" indent="-285750">
              <a:buClr>
                <a:schemeClr val="bg1"/>
              </a:buClr>
              <a:buFont typeface="Wingdings" pitchFamily="2" charset="2"/>
              <a:buChar char="§"/>
              <a:defRPr sz="3000"/>
            </a:lvl2pPr>
            <a:lvl3pPr marL="753750" indent="-285750">
              <a:buClr>
                <a:schemeClr val="bg1"/>
              </a:buClr>
              <a:buFont typeface="Wingdings" pitchFamily="2" charset="2"/>
              <a:buChar char="§"/>
              <a:defRPr/>
            </a:lvl3pPr>
            <a:lvl4pPr marL="987750" indent="-285750">
              <a:buClr>
                <a:schemeClr val="bg1"/>
              </a:buClr>
              <a:buFont typeface="Wingdings" pitchFamily="2" charset="2"/>
              <a:buChar char="§"/>
              <a:defRPr/>
            </a:lvl4pPr>
            <a:lvl5pPr marL="1221750" indent="-285750">
              <a:buClr>
                <a:schemeClr val="bg1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  <a:p>
            <a:pPr lvl="0"/>
            <a:endParaRPr lang="nb-NO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FD54D4A-C642-4D39-BA17-B95CC0A23CCF}"/>
              </a:ext>
            </a:extLst>
          </p:cNvPr>
          <p:cNvGrpSpPr/>
          <p:nvPr userDrawn="1"/>
        </p:nvGrpSpPr>
        <p:grpSpPr>
          <a:xfrm>
            <a:off x="11583006" y="179995"/>
            <a:ext cx="428994" cy="428994"/>
            <a:chOff x="11583006" y="179995"/>
            <a:chExt cx="428994" cy="428994"/>
          </a:xfrm>
        </p:grpSpPr>
        <p:sp>
          <p:nvSpPr>
            <p:cNvPr id="13" name="Rektangel 7">
              <a:extLst>
                <a:ext uri="{FF2B5EF4-FFF2-40B4-BE49-F238E27FC236}">
                  <a16:creationId xmlns:a16="http://schemas.microsoft.com/office/drawing/2014/main" id="{976FEAB8-0260-44B2-826F-003717ED63EE}"/>
                </a:ext>
              </a:extLst>
            </p:cNvPr>
            <p:cNvSpPr/>
            <p:nvPr/>
          </p:nvSpPr>
          <p:spPr>
            <a:xfrm>
              <a:off x="11583006" y="179995"/>
              <a:ext cx="428994" cy="42899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4" name="Grafikk 8">
              <a:extLst>
                <a:ext uri="{FF2B5EF4-FFF2-40B4-BE49-F238E27FC236}">
                  <a16:creationId xmlns:a16="http://schemas.microsoft.com/office/drawing/2014/main" id="{F436227F-690D-44FE-8357-F1AB7B91A21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583006" y="179995"/>
              <a:ext cx="428994" cy="4289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31292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6">
          <p15:clr>
            <a:srgbClr val="FBAE40"/>
          </p15:clr>
        </p15:guide>
        <p15:guide id="2" orient="horz" pos="339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tort bilde gu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e">
            <a:extLst>
              <a:ext uri="{FF2B5EF4-FFF2-40B4-BE49-F238E27FC236}">
                <a16:creationId xmlns:a16="http://schemas.microsoft.com/office/drawing/2014/main" id="{70C5FD86-6FDB-C641-B847-0B378C3B4E1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4615200" cy="6858001"/>
          </a:xfrm>
          <a:solidFill>
            <a:schemeClr val="bg2"/>
          </a:solidFill>
        </p:spPr>
        <p:txBody>
          <a:bodyPr lIns="720000" tIns="720000" rIns="720000" bIns="720000"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9C8A02EF-6CF4-6F4B-8683-956759D41FB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5197" y="631507"/>
            <a:ext cx="6138003" cy="5508943"/>
          </a:xfrm>
          <a:noFill/>
        </p:spPr>
        <p:txBody>
          <a:bodyPr lIns="0" tIns="0" rIns="0" bIns="0"/>
          <a:lstStyle>
            <a:lvl1pPr marL="0" indent="0">
              <a:buNone/>
              <a:defRPr sz="3000"/>
            </a:lvl1pPr>
            <a:lvl2pPr marL="0" indent="-285750">
              <a:buClr>
                <a:schemeClr val="bg1"/>
              </a:buClr>
              <a:buFont typeface="Wingdings" pitchFamily="2" charset="2"/>
              <a:buChar char="§"/>
              <a:defRPr sz="3000"/>
            </a:lvl2pPr>
            <a:lvl3pPr marL="753750" indent="-285750">
              <a:buClr>
                <a:schemeClr val="bg1"/>
              </a:buClr>
              <a:buFont typeface="Wingdings" pitchFamily="2" charset="2"/>
              <a:buChar char="§"/>
              <a:defRPr/>
            </a:lvl3pPr>
            <a:lvl4pPr marL="987750" indent="-285750">
              <a:buClr>
                <a:schemeClr val="bg1"/>
              </a:buClr>
              <a:buFont typeface="Wingdings" pitchFamily="2" charset="2"/>
              <a:buChar char="§"/>
              <a:defRPr/>
            </a:lvl4pPr>
            <a:lvl5pPr marL="1221750" indent="-285750">
              <a:buClr>
                <a:schemeClr val="bg1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  <a:p>
            <a:pPr lvl="0"/>
            <a:endParaRPr lang="nb-NO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19DA5F9-B1CE-4C4C-BEA8-E9B016028932}"/>
              </a:ext>
            </a:extLst>
          </p:cNvPr>
          <p:cNvGrpSpPr/>
          <p:nvPr userDrawn="1"/>
        </p:nvGrpSpPr>
        <p:grpSpPr>
          <a:xfrm>
            <a:off x="11583006" y="179995"/>
            <a:ext cx="428994" cy="428994"/>
            <a:chOff x="11583006" y="179995"/>
            <a:chExt cx="428994" cy="428994"/>
          </a:xfrm>
        </p:grpSpPr>
        <p:sp>
          <p:nvSpPr>
            <p:cNvPr id="12" name="Rektangel 7">
              <a:extLst>
                <a:ext uri="{FF2B5EF4-FFF2-40B4-BE49-F238E27FC236}">
                  <a16:creationId xmlns:a16="http://schemas.microsoft.com/office/drawing/2014/main" id="{C330A23C-BBB1-4545-915D-EDEF68D58C5E}"/>
                </a:ext>
              </a:extLst>
            </p:cNvPr>
            <p:cNvSpPr/>
            <p:nvPr/>
          </p:nvSpPr>
          <p:spPr>
            <a:xfrm>
              <a:off x="11583006" y="179995"/>
              <a:ext cx="428994" cy="42899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3" name="Grafikk 8">
              <a:extLst>
                <a:ext uri="{FF2B5EF4-FFF2-40B4-BE49-F238E27FC236}">
                  <a16:creationId xmlns:a16="http://schemas.microsoft.com/office/drawing/2014/main" id="{F59F8C9A-BC69-4A4C-AA6A-E52B159AAF4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583006" y="179995"/>
              <a:ext cx="428994" cy="4289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01014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6">
          <p15:clr>
            <a:srgbClr val="FBAE40"/>
          </p15:clr>
        </p15:guide>
        <p15:guide id="2" orient="horz" pos="33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tort bilde grå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e">
            <a:extLst>
              <a:ext uri="{FF2B5EF4-FFF2-40B4-BE49-F238E27FC236}">
                <a16:creationId xmlns:a16="http://schemas.microsoft.com/office/drawing/2014/main" id="{70C5FD86-6FDB-C641-B847-0B378C3B4E1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4615200" cy="6858001"/>
          </a:xfrm>
          <a:solidFill>
            <a:schemeClr val="bg2"/>
          </a:solidFill>
        </p:spPr>
        <p:txBody>
          <a:bodyPr lIns="720000" tIns="720000" rIns="720000" bIns="720000"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9C8A02EF-6CF4-6F4B-8683-956759D41FB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5197" y="631507"/>
            <a:ext cx="6138003" cy="5508943"/>
          </a:xfrm>
          <a:noFill/>
        </p:spPr>
        <p:txBody>
          <a:bodyPr lIns="0" tIns="0" rIns="0" bIns="0"/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0" indent="-285750">
              <a:buClr>
                <a:schemeClr val="accent1"/>
              </a:buClr>
              <a:buFont typeface="Wingdings" pitchFamily="2" charset="2"/>
              <a:buChar char="§"/>
              <a:defRPr sz="3000">
                <a:solidFill>
                  <a:schemeClr val="bg1"/>
                </a:solidFill>
              </a:defRPr>
            </a:lvl2pPr>
            <a:lvl3pPr marL="753750" indent="-285750"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3pPr>
            <a:lvl4pPr marL="987750" indent="-285750"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4pPr>
            <a:lvl5pPr marL="1221750" indent="-285750"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  <a:p>
            <a:pPr lvl="0"/>
            <a:endParaRPr lang="nb-NO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C3B1896-3B6C-4EA7-9243-326DFD0B79B0}"/>
              </a:ext>
            </a:extLst>
          </p:cNvPr>
          <p:cNvGrpSpPr/>
          <p:nvPr userDrawn="1"/>
        </p:nvGrpSpPr>
        <p:grpSpPr>
          <a:xfrm>
            <a:off x="11583006" y="179995"/>
            <a:ext cx="428994" cy="428994"/>
            <a:chOff x="11583006" y="179995"/>
            <a:chExt cx="428994" cy="428994"/>
          </a:xfrm>
        </p:grpSpPr>
        <p:sp>
          <p:nvSpPr>
            <p:cNvPr id="12" name="Rektangel 7">
              <a:extLst>
                <a:ext uri="{FF2B5EF4-FFF2-40B4-BE49-F238E27FC236}">
                  <a16:creationId xmlns:a16="http://schemas.microsoft.com/office/drawing/2014/main" id="{6D0896E2-3CBB-4E2D-B654-243D983AE8F6}"/>
                </a:ext>
              </a:extLst>
            </p:cNvPr>
            <p:cNvSpPr/>
            <p:nvPr/>
          </p:nvSpPr>
          <p:spPr>
            <a:xfrm>
              <a:off x="11583006" y="179995"/>
              <a:ext cx="428994" cy="42899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3" name="Grafikk 8">
              <a:extLst>
                <a:ext uri="{FF2B5EF4-FFF2-40B4-BE49-F238E27FC236}">
                  <a16:creationId xmlns:a16="http://schemas.microsoft.com/office/drawing/2014/main" id="{EB80E5C2-7607-4FC0-96FF-BBE062D334C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583006" y="179995"/>
              <a:ext cx="428994" cy="4289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0315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6">
          <p15:clr>
            <a:srgbClr val="FBAE40"/>
          </p15:clr>
        </p15:guide>
        <p15:guide id="2" orient="horz" pos="33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tort bilde h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e">
            <a:extLst>
              <a:ext uri="{FF2B5EF4-FFF2-40B4-BE49-F238E27FC236}">
                <a16:creationId xmlns:a16="http://schemas.microsoft.com/office/drawing/2014/main" id="{70C5FD86-6FDB-C641-B847-0B378C3B4E1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4615200" cy="6858001"/>
          </a:xfrm>
          <a:solidFill>
            <a:schemeClr val="bg2"/>
          </a:solidFill>
        </p:spPr>
        <p:txBody>
          <a:bodyPr lIns="720000" tIns="720000" rIns="720000" bIns="720000"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9C8A02EF-6CF4-6F4B-8683-956759D41FB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35197" y="631504"/>
            <a:ext cx="6138003" cy="5508946"/>
          </a:xfrm>
          <a:noFill/>
        </p:spPr>
        <p:txBody>
          <a:bodyPr lIns="0" tIns="0" rIns="0" bIns="0"/>
          <a:lstStyle>
            <a:lvl1pPr marL="0" indent="0">
              <a:buNone/>
              <a:defRPr sz="3000">
                <a:solidFill>
                  <a:schemeClr val="tx2"/>
                </a:solidFill>
              </a:defRPr>
            </a:lvl1pPr>
            <a:lvl2pPr marL="0" indent="-285750">
              <a:buClr>
                <a:schemeClr val="accent1"/>
              </a:buClr>
              <a:buFont typeface="Wingdings" pitchFamily="2" charset="2"/>
              <a:buChar char="§"/>
              <a:defRPr sz="3000">
                <a:solidFill>
                  <a:schemeClr val="tx2"/>
                </a:solidFill>
              </a:defRPr>
            </a:lvl2pPr>
            <a:lvl3pPr marL="753750" indent="-285750"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3pPr>
            <a:lvl4pPr marL="987750" indent="-285750"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4pPr>
            <a:lvl5pPr marL="1221750" indent="-285750"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  <a:p>
            <a:pPr lvl="0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33717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6">
          <p15:clr>
            <a:srgbClr val="FBAE40"/>
          </p15:clr>
        </p15:guide>
        <p15:guide id="2" orient="horz" pos="339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ekstra stort bil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>
            <a:extLst>
              <a:ext uri="{FF2B5EF4-FFF2-40B4-BE49-F238E27FC236}">
                <a16:creationId xmlns:a16="http://schemas.microsoft.com/office/drawing/2014/main" id="{57015357-85D6-2F4D-9803-D74731F4B554}"/>
              </a:ext>
            </a:extLst>
          </p:cNvPr>
          <p:cNvSpPr/>
          <p:nvPr/>
        </p:nvSpPr>
        <p:spPr>
          <a:xfrm flipV="1">
            <a:off x="0" y="4623597"/>
            <a:ext cx="4615200" cy="22344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C2ADE2A-446E-F44D-8B0C-69B38F62E15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0" y="0"/>
            <a:ext cx="4615201" cy="4623597"/>
          </a:xfrm>
          <a:solidFill>
            <a:schemeClr val="accent1"/>
          </a:solidFill>
        </p:spPr>
        <p:txBody>
          <a:bodyPr lIns="720000" tIns="612000" rIns="360000" bIns="180000"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5613402-9B9E-8B49-8A1C-573C429B4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F9809E6-B518-3F4B-B80A-00A1D6FE6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F6EC21E-B709-FC48-9BBF-7B55CC7A9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33F41770-945A-4DA5-B660-2640DF1B07E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15200" y="0"/>
            <a:ext cx="7576799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EDFF82F-89BD-4F3B-86D8-F4F625C663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6355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retningsområde oversi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6078D4F-24E1-45DC-AF3E-72B1320B2E0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8318" y="1490620"/>
            <a:ext cx="6817544" cy="2225718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17923C95-5232-49E2-9B90-AE0FBB8C873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859712" y="0"/>
            <a:ext cx="4332287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EEFF43DD-29C4-48EB-A301-08F156D422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DB71233F-273F-2249-859F-5DB684D79D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E79986B2-782D-D845-A6ED-76A4CEBEB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B8EC9E5-5DAB-654D-915A-C117D714C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3" name="Tittel 1">
            <a:extLst>
              <a:ext uri="{FF2B5EF4-FFF2-40B4-BE49-F238E27FC236}">
                <a16:creationId xmlns:a16="http://schemas.microsoft.com/office/drawing/2014/main" id="{D0C8F9BB-63F8-403B-ACB8-EACF13C91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631506"/>
            <a:ext cx="6824870" cy="443239"/>
          </a:xfrm>
        </p:spPr>
        <p:txBody>
          <a:bodyPr/>
          <a:lstStyle/>
          <a:p>
            <a:r>
              <a:rPr lang="nb-NO" noProof="0"/>
              <a:t>Klikk for å redigere tittelstil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5C991654-97B8-4A40-98B8-0A3C94456A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0000" y="4068000"/>
            <a:ext cx="3131805" cy="2114640"/>
          </a:xfrm>
          <a:solidFill>
            <a:schemeClr val="bg1"/>
          </a:solidFill>
        </p:spPr>
        <p:txBody>
          <a:bodyPr tIns="0" spcCol="288000">
            <a:noAutofit/>
          </a:bodyPr>
          <a:lstStyle>
            <a:lvl1pPr>
              <a:spcBef>
                <a:spcPts val="800"/>
              </a:spcBef>
              <a:defRPr sz="14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1" name="Plassholder for tekst 13">
            <a:extLst>
              <a:ext uri="{FF2B5EF4-FFF2-40B4-BE49-F238E27FC236}">
                <a16:creationId xmlns:a16="http://schemas.microsoft.com/office/drawing/2014/main" id="{3A4EE8F5-B857-4899-A05D-E634D0FE55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 noProof="0"/>
              <a:t>Stikktittel</a:t>
            </a:r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936FE630-4E4F-4E04-98BE-CB29AD01C050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32581" y="2164404"/>
            <a:ext cx="1925145" cy="1391596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203208DA-9EBB-46A3-ACEA-0E99EE20DFF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9185" y="1648959"/>
            <a:ext cx="1908541" cy="439511"/>
          </a:xfrm>
        </p:spPr>
        <p:txBody>
          <a:bodyPr>
            <a:noAutofit/>
          </a:bodyPr>
          <a:lstStyle>
            <a:lvl1pPr marL="0" indent="0">
              <a:buNone/>
              <a:defRPr sz="1400" b="1"/>
            </a:lvl1pPr>
            <a:lvl2pPr marL="234000" indent="0">
              <a:buNone/>
              <a:defRPr/>
            </a:lvl2pPr>
            <a:lvl3pPr marL="468000" indent="0">
              <a:buNone/>
              <a:defRPr/>
            </a:lvl3pPr>
            <a:lvl4pPr marL="702000" indent="0">
              <a:buNone/>
              <a:defRPr/>
            </a:lvl4pPr>
            <a:lvl5pPr marL="936000" indent="0">
              <a:buNone/>
              <a:defRPr/>
            </a:lvl5pPr>
          </a:lstStyle>
          <a:p>
            <a:pPr lvl="0"/>
            <a:r>
              <a:rPr lang="en-US" err="1"/>
              <a:t>Omsetning</a:t>
            </a:r>
            <a:r>
              <a:rPr lang="en-US"/>
              <a:t> </a:t>
            </a:r>
            <a:r>
              <a:rPr lang="en-US" err="1"/>
              <a:t>og</a:t>
            </a:r>
            <a:r>
              <a:rPr lang="en-US"/>
              <a:t> margin (YTD)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337D6017-FC66-4EB8-8A5C-C0DBF353ACF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04058" y="4068000"/>
            <a:ext cx="3131805" cy="2114640"/>
          </a:xfrm>
          <a:solidFill>
            <a:schemeClr val="bg1"/>
          </a:solidFill>
        </p:spPr>
        <p:txBody>
          <a:bodyPr tIns="0" spcCol="288000">
            <a:noAutofit/>
          </a:bodyPr>
          <a:lstStyle>
            <a:lvl1pPr>
              <a:spcBef>
                <a:spcPts val="800"/>
              </a:spcBef>
              <a:defRPr sz="14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7" name="Content Placeholder 7">
            <a:extLst>
              <a:ext uri="{FF2B5EF4-FFF2-40B4-BE49-F238E27FC236}">
                <a16:creationId xmlns:a16="http://schemas.microsoft.com/office/drawing/2014/main" id="{C588458D-14BC-4716-89F5-02A39D393D26}"/>
              </a:ext>
            </a:extLst>
          </p:cNvPr>
          <p:cNvSpPr>
            <a:spLocks noGrp="1"/>
          </p:cNvSpPr>
          <p:nvPr userDrawn="1">
            <p:ph sz="quarter" idx="28" hasCustomPrompt="1"/>
          </p:nvPr>
        </p:nvSpPr>
        <p:spPr>
          <a:xfrm>
            <a:off x="3207948" y="2164404"/>
            <a:ext cx="1925145" cy="1391596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1A0A1AC4-FC30-4D86-A263-07D8A7FAE303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3224552" y="1648959"/>
            <a:ext cx="1908541" cy="439511"/>
          </a:xfrm>
        </p:spPr>
        <p:txBody>
          <a:bodyPr>
            <a:noAutofit/>
          </a:bodyPr>
          <a:lstStyle>
            <a:lvl1pPr marL="0" indent="0">
              <a:buNone/>
              <a:defRPr sz="1400" b="1"/>
            </a:lvl1pPr>
            <a:lvl2pPr marL="234000" indent="0">
              <a:buNone/>
              <a:defRPr/>
            </a:lvl2pPr>
            <a:lvl3pPr marL="468000" indent="0">
              <a:buNone/>
              <a:defRPr/>
            </a:lvl3pPr>
            <a:lvl4pPr marL="702000" indent="0">
              <a:buNone/>
              <a:defRPr/>
            </a:lvl4pPr>
            <a:lvl5pPr marL="936000" indent="0">
              <a:buNone/>
              <a:defRPr/>
            </a:lvl5pPr>
          </a:lstStyle>
          <a:p>
            <a:pPr lvl="0"/>
            <a:r>
              <a:rPr lang="en-US" err="1"/>
              <a:t>Omsetning</a:t>
            </a:r>
            <a:r>
              <a:rPr lang="en-US"/>
              <a:t> </a:t>
            </a:r>
            <a:r>
              <a:rPr lang="en-US" err="1"/>
              <a:t>og</a:t>
            </a:r>
            <a:r>
              <a:rPr lang="en-US"/>
              <a:t> margin (YTD)</a:t>
            </a:r>
          </a:p>
        </p:txBody>
      </p:sp>
      <p:sp>
        <p:nvSpPr>
          <p:cNvPr id="32" name="Content Placeholder 7">
            <a:extLst>
              <a:ext uri="{FF2B5EF4-FFF2-40B4-BE49-F238E27FC236}">
                <a16:creationId xmlns:a16="http://schemas.microsoft.com/office/drawing/2014/main" id="{99F3D800-473B-43F2-BA95-71048FE88223}"/>
              </a:ext>
            </a:extLst>
          </p:cNvPr>
          <p:cNvSpPr>
            <a:spLocks noGrp="1"/>
          </p:cNvSpPr>
          <p:nvPr userDrawn="1">
            <p:ph sz="quarter" idx="30" hasCustomPrompt="1"/>
          </p:nvPr>
        </p:nvSpPr>
        <p:spPr>
          <a:xfrm>
            <a:off x="5483315" y="2164404"/>
            <a:ext cx="1925145" cy="1391596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633B0C33-2C2C-42CE-BF90-ADCEE1739932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5499919" y="1648959"/>
            <a:ext cx="1908541" cy="439511"/>
          </a:xfrm>
        </p:spPr>
        <p:txBody>
          <a:bodyPr>
            <a:noAutofit/>
          </a:bodyPr>
          <a:lstStyle>
            <a:lvl1pPr marL="0" indent="0">
              <a:buNone/>
              <a:defRPr sz="1400" b="1"/>
            </a:lvl1pPr>
            <a:lvl2pPr marL="234000" indent="0">
              <a:buNone/>
              <a:defRPr/>
            </a:lvl2pPr>
            <a:lvl3pPr marL="468000" indent="0">
              <a:buNone/>
              <a:defRPr/>
            </a:lvl3pPr>
            <a:lvl4pPr marL="702000" indent="0">
              <a:buNone/>
              <a:defRPr/>
            </a:lvl4pPr>
            <a:lvl5pPr marL="936000" indent="0">
              <a:buNone/>
              <a:defRPr/>
            </a:lvl5pPr>
          </a:lstStyle>
          <a:p>
            <a:pPr lvl="0"/>
            <a:r>
              <a:rPr lang="en-US" err="1"/>
              <a:t>Omsetning</a:t>
            </a:r>
            <a:r>
              <a:rPr lang="en-US"/>
              <a:t> </a:t>
            </a:r>
            <a:r>
              <a:rPr lang="en-US" err="1"/>
              <a:t>og</a:t>
            </a:r>
            <a:r>
              <a:rPr lang="en-US"/>
              <a:t> margin (YTD)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9C417919-7009-4E89-B609-1ACFC17954F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60051" y="1667608"/>
            <a:ext cx="18000" cy="1890000"/>
          </a:xfr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528387FD-DDB7-47FB-A70F-BA0B8E4B75E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993240" y="1667608"/>
            <a:ext cx="18000" cy="1890000"/>
          </a:xfr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B1803A5F-25FB-40A1-AA0C-D33C1B061CB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118931" y="4025810"/>
            <a:ext cx="18000" cy="2113200"/>
          </a:xfr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0344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1973">
          <p15:clr>
            <a:srgbClr val="FBAE40"/>
          </p15:clr>
        </p15:guide>
        <p15:guide id="8" orient="horz" pos="2341">
          <p15:clr>
            <a:srgbClr val="FBAE40"/>
          </p15:clr>
        </p15:guide>
        <p15:guide id="9" pos="4951">
          <p15:clr>
            <a:srgbClr val="FBAE40"/>
          </p15:clr>
        </p15:guide>
        <p15:guide id="10" pos="4747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ns/kvar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0C6E83D-2976-4960-945E-52C9930C115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8318" y="1490620"/>
            <a:ext cx="6817544" cy="2225718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17923C95-5232-49E2-9B90-AE0FBB8C873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859712" y="0"/>
            <a:ext cx="4332287" cy="6858000"/>
          </a:xfrm>
          <a:solidFill>
            <a:schemeClr val="bg2"/>
          </a:solidFill>
        </p:spPr>
        <p:txBody>
          <a:bodyPr lIns="720000" tIns="720000" rIns="720000" bIns="720000" anchor="ctr" anchorCtr="0">
            <a:noAutofit/>
          </a:bodyPr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EEFF43DD-29C4-48EB-A301-08F156D422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BB3DACF-FED6-4168-8A90-A42D22B1BB6E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897796" y="1673225"/>
            <a:ext cx="6425342" cy="1860550"/>
          </a:xfrm>
        </p:spPr>
        <p:txBody>
          <a:bodyPr>
            <a:noAutofit/>
          </a:bodyPr>
          <a:lstStyle/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DB71233F-273F-2249-859F-5DB684D79D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E79986B2-782D-D845-A6ED-76A4CEBEB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B8EC9E5-5DAB-654D-915A-C117D714C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3" name="Tittel 1">
            <a:extLst>
              <a:ext uri="{FF2B5EF4-FFF2-40B4-BE49-F238E27FC236}">
                <a16:creationId xmlns:a16="http://schemas.microsoft.com/office/drawing/2014/main" id="{D0C8F9BB-63F8-403B-ACB8-EACF13C91F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631506"/>
            <a:ext cx="6824870" cy="443239"/>
          </a:xfrm>
        </p:spPr>
        <p:txBody>
          <a:bodyPr/>
          <a:lstStyle/>
          <a:p>
            <a:r>
              <a:rPr lang="nb-NO" noProof="0"/>
              <a:t>Klikk for å redigere tittelstil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5C991654-97B8-4A40-98B8-0A3C94456AC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0000" y="4038601"/>
            <a:ext cx="6818400" cy="2130068"/>
          </a:xfrm>
          <a:solidFill>
            <a:schemeClr val="bg1"/>
          </a:solidFill>
        </p:spPr>
        <p:txBody>
          <a:bodyPr tIns="0" spcCol="288000">
            <a:noAutofit/>
          </a:bodyPr>
          <a:lstStyle>
            <a:lvl1pPr>
              <a:spcBef>
                <a:spcPts val="1000"/>
              </a:spcBef>
              <a:defRPr sz="1600"/>
            </a:lvl1pPr>
            <a:lvl2pPr>
              <a:spcBef>
                <a:spcPts val="400"/>
              </a:spcBef>
              <a:defRPr sz="1400"/>
            </a:lvl2pPr>
            <a:lvl3pPr>
              <a:spcBef>
                <a:spcPts val="400"/>
              </a:spcBef>
              <a:defRPr sz="1400"/>
            </a:lvl3pPr>
            <a:lvl4pPr>
              <a:spcBef>
                <a:spcPts val="400"/>
              </a:spcBef>
              <a:defRPr sz="1400"/>
            </a:lvl4pPr>
            <a:lvl5pPr>
              <a:spcBef>
                <a:spcPts val="400"/>
              </a:spcBef>
              <a:defRPr sz="1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1" name="Plassholder for tekst 13">
            <a:extLst>
              <a:ext uri="{FF2B5EF4-FFF2-40B4-BE49-F238E27FC236}">
                <a16:creationId xmlns:a16="http://schemas.microsoft.com/office/drawing/2014/main" id="{3A4EE8F5-B857-4899-A05D-E634D0FE55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 noProof="0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4001808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orient="horz" pos="1973">
          <p15:clr>
            <a:srgbClr val="FBAE40"/>
          </p15:clr>
        </p15:guide>
        <p15:guide id="8" orient="horz" pos="2341">
          <p15:clr>
            <a:srgbClr val="FBAE40"/>
          </p15:clr>
        </p15:guide>
        <p15:guide id="9" pos="4951">
          <p15:clr>
            <a:srgbClr val="FBAE40"/>
          </p15:clr>
        </p15:guide>
        <p15:guide id="10" pos="4747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F1B76F82-8C57-4FEB-9798-D3081461527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20000" y="1984375"/>
            <a:ext cx="5202000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3">
            <a:extLst>
              <a:ext uri="{FF2B5EF4-FFF2-40B4-BE49-F238E27FC236}">
                <a16:creationId xmlns:a16="http://schemas.microsoft.com/office/drawing/2014/main" id="{318CD61F-8F44-4985-91EF-D84166C754D9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720000" y="2556887"/>
            <a:ext cx="5202000" cy="3583563"/>
          </a:xfrm>
        </p:spPr>
        <p:txBody>
          <a:bodyPr tIns="180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7DA3F827-2223-4819-881C-BDAC45C3463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70002" y="1984375"/>
            <a:ext cx="5202000" cy="540000"/>
          </a:xfrm>
          <a:solidFill>
            <a:schemeClr val="accent1"/>
          </a:solidFill>
        </p:spPr>
        <p:txBody>
          <a:bodyPr vert="horz" lIns="180000" tIns="36000" rIns="36000" bIns="36000" rtlCol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lang="nb-NO" sz="1600" dirty="0"/>
            </a:lvl1pPr>
          </a:lstStyle>
          <a:p>
            <a:pPr marL="234000" lvl="0" indent="-234000"/>
            <a:r>
              <a:rPr lang="nb-NO"/>
              <a:t>Klikk for å redigere tekststiler i malen</a:t>
            </a:r>
          </a:p>
        </p:txBody>
      </p:sp>
      <p:sp>
        <p:nvSpPr>
          <p:cNvPr id="13" name="Plassholder for innhold 3">
            <a:extLst>
              <a:ext uri="{FF2B5EF4-FFF2-40B4-BE49-F238E27FC236}">
                <a16:creationId xmlns:a16="http://schemas.microsoft.com/office/drawing/2014/main" id="{B1DA75B1-287C-4CBE-A719-0C9B3A2885D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6270002" y="2556887"/>
            <a:ext cx="5202000" cy="3583563"/>
          </a:xfrm>
        </p:spPr>
        <p:txBody>
          <a:bodyPr tIns="180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ekst 13">
            <a:extLst>
              <a:ext uri="{FF2B5EF4-FFF2-40B4-BE49-F238E27FC236}">
                <a16:creationId xmlns:a16="http://schemas.microsoft.com/office/drawing/2014/main" id="{0DD27149-AB67-4FC1-9A47-0FE22156E9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2541499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ittel utfallen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D4CACC4C-CF88-4A94-8F8D-5419AED1DA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720000" tIns="720000" rIns="720000" bIns="720000" anchor="ctr" anchorCtr="0">
            <a:noAutofit/>
          </a:bodyPr>
          <a:lstStyle>
            <a:lvl1pPr marL="0" indent="0" algn="r">
              <a:buNone/>
              <a:defRPr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936471F2-7DD3-4EA4-A991-B9DED9A52AE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DB71233F-273F-2249-859F-5DB684D79D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B8EC9E5-5DAB-654D-915A-C117D714C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D5719EC7-73F3-B949-AD07-FCC43E3785AB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0" y="0"/>
            <a:ext cx="3429001" cy="1832956"/>
          </a:xfrm>
          <a:solidFill>
            <a:schemeClr val="accent1"/>
          </a:solidFill>
        </p:spPr>
        <p:txBody>
          <a:bodyPr lIns="540000" tIns="630000" rIns="360000" bIns="180000">
            <a:noAutofit/>
          </a:bodyPr>
          <a:lstStyle>
            <a:lvl1pPr>
              <a:defRPr/>
            </a:lvl1pPr>
          </a:lstStyle>
          <a:p>
            <a:r>
              <a:rPr lang="nb-NO"/>
              <a:t>Klikk for å redigere</a:t>
            </a:r>
          </a:p>
        </p:txBody>
      </p:sp>
      <p:sp>
        <p:nvSpPr>
          <p:cNvPr id="9" name="Plassholder for bunntekst 5">
            <a:extLst>
              <a:ext uri="{FF2B5EF4-FFF2-40B4-BE49-F238E27FC236}">
                <a16:creationId xmlns:a16="http://schemas.microsoft.com/office/drawing/2014/main" id="{7DCFFA88-8642-4A82-9F18-4EF1055A8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9997" y="6419782"/>
            <a:ext cx="10389328" cy="187105"/>
          </a:xfrm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A6F74F68-0329-4889-8127-7853F830B8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006" y="1799705"/>
            <a:ext cx="3430007" cy="1629296"/>
          </a:xfrm>
          <a:solidFill>
            <a:schemeClr val="accent1"/>
          </a:solidFill>
        </p:spPr>
        <p:txBody>
          <a:bodyPr lIns="540000" rIns="360000" bIns="180000">
            <a:noAutofit/>
          </a:bodyPr>
          <a:lstStyle>
            <a:lvl1pPr marL="180975" indent="-180975">
              <a:spcBef>
                <a:spcPts val="600"/>
              </a:spcBef>
              <a:buClr>
                <a:schemeClr val="bg1"/>
              </a:buClr>
              <a:defRPr sz="15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50577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ittel utfallen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24425C-5A00-42E2-8742-3B49EF4AD3F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720000" tIns="720000" rIns="720000" bIns="720000" anchor="ctr" anchorCtr="0">
            <a:noAutofit/>
          </a:bodyPr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 noProof="0"/>
              <a:t>Klikk på ikonet for å legge til et bild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3438023-DDDF-4C39-84C9-218280072A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DB71233F-273F-2249-859F-5DB684D79D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B8EC9E5-5DAB-654D-915A-C117D714C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3" name="Tittel 4">
            <a:extLst>
              <a:ext uri="{FF2B5EF4-FFF2-40B4-BE49-F238E27FC236}">
                <a16:creationId xmlns:a16="http://schemas.microsoft.com/office/drawing/2014/main" id="{83E66060-A9E2-4242-81B3-A55F57BCA92D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0" y="3428999"/>
            <a:ext cx="3429001" cy="1713546"/>
          </a:xfrm>
          <a:solidFill>
            <a:schemeClr val="accent1"/>
          </a:solidFill>
        </p:spPr>
        <p:txBody>
          <a:bodyPr lIns="540000" tIns="504000" rIns="360000" bIns="180000">
            <a:noAutofit/>
          </a:bodyPr>
          <a:lstStyle>
            <a:lvl1pPr>
              <a:defRPr/>
            </a:lvl1pPr>
          </a:lstStyle>
          <a:p>
            <a:r>
              <a:rPr lang="nb-NO" noProof="0"/>
              <a:t>Klikk for å redige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E5F1FCD-3438-4BDC-B3DF-9EECFFE3026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006" y="5112324"/>
            <a:ext cx="3430007" cy="1745675"/>
          </a:xfrm>
          <a:solidFill>
            <a:schemeClr val="accent1"/>
          </a:solidFill>
        </p:spPr>
        <p:txBody>
          <a:bodyPr lIns="540000" rIns="360000" bIns="180000">
            <a:noAutofit/>
          </a:bodyPr>
          <a:lstStyle>
            <a:lvl1pPr marL="180975" indent="-180975">
              <a:spcBef>
                <a:spcPts val="600"/>
              </a:spcBef>
              <a:buClr>
                <a:schemeClr val="bg1"/>
              </a:buClr>
              <a:defRPr sz="15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695484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de + tekst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39725" y="274639"/>
            <a:ext cx="6560456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943872" y="1600201"/>
            <a:ext cx="6536928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E4E8F429-805F-4F6C-916D-746CAF201E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0" y="0"/>
            <a:ext cx="4496680" cy="6858000"/>
          </a:xfrm>
          <a:noFill/>
        </p:spPr>
        <p:txBody>
          <a:bodyPr anchor="ctr">
            <a:normAutofit/>
          </a:bodyPr>
          <a:lstStyle>
            <a:lvl1pPr>
              <a:defRPr sz="2667" b="0" u="none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9884744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ittel utfallen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e">
            <a:extLst>
              <a:ext uri="{FF2B5EF4-FFF2-40B4-BE49-F238E27FC236}">
                <a16:creationId xmlns:a16="http://schemas.microsoft.com/office/drawing/2014/main" id="{380286EB-9435-4F0E-BF31-DB3824A5F96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720000" tIns="720000" rIns="720000" bIns="720000" anchor="ctr" anchorCtr="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nb-NO" noProof="0"/>
              <a:t>Klikk på ikonet for å legge til et bild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10D69F0-E13B-4E7B-8601-664B3F69C6D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DB71233F-273F-2249-859F-5DB684D79D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r>
              <a:rPr lang="en-US" noProof="0"/>
              <a:t>25.06.2021</a:t>
            </a:r>
            <a:endParaRPr lang="nb-NO" noProof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B8EC9E5-5DAB-654D-915A-C117D714C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fld id="{6FC27C0E-69D6-2140-BAEC-594D114B0964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9" name="Plassholder for bunntekst 5">
            <a:extLst>
              <a:ext uri="{FF2B5EF4-FFF2-40B4-BE49-F238E27FC236}">
                <a16:creationId xmlns:a16="http://schemas.microsoft.com/office/drawing/2014/main" id="{B8B17DE3-49BE-48A1-9380-F633CC374F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9997" y="6419782"/>
            <a:ext cx="10389328" cy="187105"/>
          </a:xfrm>
        </p:spPr>
        <p:txBody>
          <a:bodyPr/>
          <a:lstStyle>
            <a:lvl1pPr>
              <a:defRPr b="0" i="0">
                <a:latin typeface="+mj-lt"/>
              </a:defRPr>
            </a:lvl1pPr>
          </a:lstStyle>
          <a:p>
            <a:endParaRPr lang="nb-NO"/>
          </a:p>
        </p:txBody>
      </p:sp>
      <p:sp>
        <p:nvSpPr>
          <p:cNvPr id="12" name="Tittel 4">
            <a:extLst>
              <a:ext uri="{FF2B5EF4-FFF2-40B4-BE49-F238E27FC236}">
                <a16:creationId xmlns:a16="http://schemas.microsoft.com/office/drawing/2014/main" id="{E6D7E407-65E5-420F-9EA6-EE521CE9CB68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8762999" y="3428999"/>
            <a:ext cx="3429001" cy="1713546"/>
          </a:xfrm>
          <a:solidFill>
            <a:schemeClr val="accent1"/>
          </a:solidFill>
        </p:spPr>
        <p:txBody>
          <a:bodyPr lIns="540000" tIns="504000" rIns="540000" bIns="180000">
            <a:noAutofit/>
          </a:bodyPr>
          <a:lstStyle>
            <a:lvl1pPr>
              <a:defRPr/>
            </a:lvl1pPr>
          </a:lstStyle>
          <a:p>
            <a:r>
              <a:rPr lang="nb-NO" noProof="0"/>
              <a:t>Klikk for å rediger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3E9FFFF8-1B4F-471D-849D-956E0C4EE2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761993" y="5112324"/>
            <a:ext cx="3430007" cy="1745675"/>
          </a:xfrm>
          <a:solidFill>
            <a:schemeClr val="accent1"/>
          </a:solidFill>
        </p:spPr>
        <p:txBody>
          <a:bodyPr lIns="540000" rIns="540000" bIns="180000">
            <a:noAutofit/>
          </a:bodyPr>
          <a:lstStyle>
            <a:lvl1pPr marL="180975" indent="-180975">
              <a:spcBef>
                <a:spcPts val="600"/>
              </a:spcBef>
              <a:buClr>
                <a:schemeClr val="bg1"/>
              </a:buClr>
              <a:defRPr sz="150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572087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0D16F0E-DE74-DC49-9F49-B18AE520C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C00ACBC6-1301-824B-A95D-34640778D0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55537CD-971A-0F4B-B8C5-852D412DE3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0A6B2D3C-1843-7E41-8F15-B919A5C18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tekst 13">
            <a:extLst>
              <a:ext uri="{FF2B5EF4-FFF2-40B4-BE49-F238E27FC236}">
                <a16:creationId xmlns:a16="http://schemas.microsoft.com/office/drawing/2014/main" id="{9212414C-FC9F-4EF1-8D62-DF92350C64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871907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 grå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0D16F0E-DE74-DC49-9F49-B18AE520C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C00ACBC6-1301-824B-A95D-34640778D0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55537CD-971A-0F4B-B8C5-852D412DE3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0A6B2D3C-1843-7E41-8F15-B919A5C18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tekst 13">
            <a:extLst>
              <a:ext uri="{FF2B5EF4-FFF2-40B4-BE49-F238E27FC236}">
                <a16:creationId xmlns:a16="http://schemas.microsoft.com/office/drawing/2014/main" id="{F35BF3F8-547C-4AFA-91BA-24A0E0459F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2871344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e">
            <a:extLst>
              <a:ext uri="{FF2B5EF4-FFF2-40B4-BE49-F238E27FC236}">
                <a16:creationId xmlns:a16="http://schemas.microsoft.com/office/drawing/2014/main" id="{040660A8-334E-4B67-BD09-CF682ACC9DC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>
              <a:buNone/>
              <a:defRPr/>
            </a:lvl1pPr>
          </a:lstStyle>
          <a:p>
            <a:r>
              <a:rPr lang="nb-NO" noProof="0"/>
              <a:t>Klikk på ikonet for å legge til et bild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3AA496-E2E6-47FB-96FC-D1A21672FB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0D16F0E-DE74-DC49-9F49-B18AE520C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C00ACBC6-1301-824B-A95D-34640778D0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55537CD-971A-0F4B-B8C5-852D412DE3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0A6B2D3C-1843-7E41-8F15-B919A5C18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tekst 13">
            <a:extLst>
              <a:ext uri="{FF2B5EF4-FFF2-40B4-BE49-F238E27FC236}">
                <a16:creationId xmlns:a16="http://schemas.microsoft.com/office/drawing/2014/main" id="{9212414C-FC9F-4EF1-8D62-DF92350C64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3477815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DB71233F-273F-2249-859F-5DB684D79D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E79986B2-782D-D845-A6ED-76A4CEBEB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B8EC9E5-5DAB-654D-915A-C117D714C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87969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nimer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_logo_B_white_H264" descr="AF_logo_B_white_H264">
            <a:hlinkClick r:id="" action="ppaction://media"/>
            <a:extLst>
              <a:ext uri="{FF2B5EF4-FFF2-40B4-BE49-F238E27FC236}">
                <a16:creationId xmlns:a16="http://schemas.microsoft.com/office/drawing/2014/main" id="{22CA2B59-F854-4E67-A582-D14777CBB0DD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-487" t="-1017" r="-487" b="-1017"/>
          <a:stretch/>
        </p:blipFill>
        <p:spPr>
          <a:xfrm>
            <a:off x="-59410" y="-69742"/>
            <a:ext cx="12310820" cy="6997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086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08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norm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4793A5B-E7B8-4C99-A418-8F8658427EA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E38E4301-9788-164D-9664-3D256996C69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" y="-2"/>
            <a:ext cx="4619624" cy="3438000"/>
          </a:xfrm>
          <a:solidFill>
            <a:schemeClr val="accent1"/>
          </a:solidFill>
        </p:spPr>
        <p:txBody>
          <a:bodyPr lIns="720000" tIns="720000" rIns="540000" bIns="360000" anchor="b" anchorCtr="0">
            <a:noAutofit/>
          </a:bodyPr>
          <a:lstStyle>
            <a:lvl1pPr algn="l">
              <a:lnSpc>
                <a:spcPct val="90000"/>
              </a:lnSpc>
              <a:defRPr sz="3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D6995328-6892-8E49-8951-D46A5D939EC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1" y="3428999"/>
            <a:ext cx="4619625" cy="1186751"/>
          </a:xfrm>
          <a:solidFill>
            <a:schemeClr val="accent1"/>
          </a:solidFill>
        </p:spPr>
        <p:txBody>
          <a:bodyPr lIns="720000" rIns="72000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24D46953-51B1-2642-9E76-C78C4D2A5E20}"/>
              </a:ext>
            </a:extLst>
          </p:cNvPr>
          <p:cNvGrpSpPr/>
          <p:nvPr/>
        </p:nvGrpSpPr>
        <p:grpSpPr>
          <a:xfrm>
            <a:off x="2442040" y="-335454"/>
            <a:ext cx="1043680" cy="190800"/>
            <a:chOff x="2442040" y="-335454"/>
            <a:chExt cx="1043680" cy="190800"/>
          </a:xfrm>
        </p:grpSpPr>
        <p:sp>
          <p:nvSpPr>
            <p:cNvPr id="11" name="Rektangel 10">
              <a:extLst>
                <a:ext uri="{FF2B5EF4-FFF2-40B4-BE49-F238E27FC236}">
                  <a16:creationId xmlns:a16="http://schemas.microsoft.com/office/drawing/2014/main" id="{F09627A4-74A0-8C45-9058-B335B33AFAFD}"/>
                </a:ext>
              </a:extLst>
            </p:cNvPr>
            <p:cNvSpPr/>
            <p:nvPr/>
          </p:nvSpPr>
          <p:spPr>
            <a:xfrm>
              <a:off x="2442040" y="-335454"/>
              <a:ext cx="1043680" cy="19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grpSp>
          <p:nvGrpSpPr>
            <p:cNvPr id="12" name="Gruppe 11">
              <a:extLst>
                <a:ext uri="{FF2B5EF4-FFF2-40B4-BE49-F238E27FC236}">
                  <a16:creationId xmlns:a16="http://schemas.microsoft.com/office/drawing/2014/main" id="{BC368A8A-CF7D-B143-99BD-836D6370F545}"/>
                </a:ext>
              </a:extLst>
            </p:cNvPr>
            <p:cNvGrpSpPr/>
            <p:nvPr/>
          </p:nvGrpSpPr>
          <p:grpSpPr>
            <a:xfrm>
              <a:off x="2506820" y="-296561"/>
              <a:ext cx="914120" cy="108000"/>
              <a:chOff x="2442040" y="-296561"/>
              <a:chExt cx="914120" cy="108000"/>
            </a:xfrm>
          </p:grpSpPr>
          <p:sp>
            <p:nvSpPr>
              <p:cNvPr id="13" name="Rektangel 12">
                <a:extLst>
                  <a:ext uri="{FF2B5EF4-FFF2-40B4-BE49-F238E27FC236}">
                    <a16:creationId xmlns:a16="http://schemas.microsoft.com/office/drawing/2014/main" id="{B2AB4584-DF32-2E4D-A0C2-BCDA17515661}"/>
                  </a:ext>
                </a:extLst>
              </p:cNvPr>
              <p:cNvSpPr/>
              <p:nvPr/>
            </p:nvSpPr>
            <p:spPr>
              <a:xfrm>
                <a:off x="2442040" y="-296561"/>
                <a:ext cx="108000" cy="108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" name="Rektangel 13">
                <a:extLst>
                  <a:ext uri="{FF2B5EF4-FFF2-40B4-BE49-F238E27FC236}">
                    <a16:creationId xmlns:a16="http://schemas.microsoft.com/office/drawing/2014/main" id="{307AD813-2F95-B145-8866-AB893EE32AAF}"/>
                  </a:ext>
                </a:extLst>
              </p:cNvPr>
              <p:cNvSpPr/>
              <p:nvPr/>
            </p:nvSpPr>
            <p:spPr>
              <a:xfrm>
                <a:off x="2764488" y="-296561"/>
                <a:ext cx="108000" cy="108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" name="Rektangel 14">
                <a:extLst>
                  <a:ext uri="{FF2B5EF4-FFF2-40B4-BE49-F238E27FC236}">
                    <a16:creationId xmlns:a16="http://schemas.microsoft.com/office/drawing/2014/main" id="{0D9CDADD-E0FB-CE40-9647-33E2462E729E}"/>
                  </a:ext>
                </a:extLst>
              </p:cNvPr>
              <p:cNvSpPr/>
              <p:nvPr/>
            </p:nvSpPr>
            <p:spPr>
              <a:xfrm>
                <a:off x="3248160" y="-296561"/>
                <a:ext cx="108000" cy="108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" name="Rektangel 15">
                <a:extLst>
                  <a:ext uri="{FF2B5EF4-FFF2-40B4-BE49-F238E27FC236}">
                    <a16:creationId xmlns:a16="http://schemas.microsoft.com/office/drawing/2014/main" id="{52CC5802-59F2-8A4C-B373-F82F84A464EA}"/>
                  </a:ext>
                </a:extLst>
              </p:cNvPr>
              <p:cNvSpPr/>
              <p:nvPr/>
            </p:nvSpPr>
            <p:spPr>
              <a:xfrm>
                <a:off x="2603264" y="-296561"/>
                <a:ext cx="108000" cy="1080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" name="Rektangel 18">
                <a:extLst>
                  <a:ext uri="{FF2B5EF4-FFF2-40B4-BE49-F238E27FC236}">
                    <a16:creationId xmlns:a16="http://schemas.microsoft.com/office/drawing/2014/main" id="{F94FA0C1-68E6-464E-AC09-2AE1AEE87E0B}"/>
                  </a:ext>
                </a:extLst>
              </p:cNvPr>
              <p:cNvSpPr/>
              <p:nvPr/>
            </p:nvSpPr>
            <p:spPr>
              <a:xfrm>
                <a:off x="2925712" y="-296561"/>
                <a:ext cx="108000" cy="108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" name="Rektangel 19">
                <a:extLst>
                  <a:ext uri="{FF2B5EF4-FFF2-40B4-BE49-F238E27FC236}">
                    <a16:creationId xmlns:a16="http://schemas.microsoft.com/office/drawing/2014/main" id="{EF895D5F-CFC3-1F42-8E10-31C2985F98C1}"/>
                  </a:ext>
                </a:extLst>
              </p:cNvPr>
              <p:cNvSpPr/>
              <p:nvPr/>
            </p:nvSpPr>
            <p:spPr>
              <a:xfrm>
                <a:off x="3086936" y="-296561"/>
                <a:ext cx="108000" cy="108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</p:grpSp>
      </p:grp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D45AB863-1037-4F33-941F-BD1A4CF996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69324" y="0"/>
            <a:ext cx="1622675" cy="161999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2" t="33271" r="33444" b="-3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99349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54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alternativ gu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F5C306A-CAD5-415E-81D7-6C8639C6B0D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619624" y="0"/>
            <a:ext cx="7572375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7FE123C0-69B0-E642-86BE-36980F897039}"/>
              </a:ext>
            </a:extLst>
          </p:cNvPr>
          <p:cNvSpPr txBox="1"/>
          <p:nvPr userDrawn="1"/>
        </p:nvSpPr>
        <p:spPr>
          <a:xfrm>
            <a:off x="719998" y="-340468"/>
            <a:ext cx="1668818" cy="180425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lang="nb-NO" sz="700" noProof="1">
                <a:latin typeface="Arial" panose="020B0604020202020204" pitchFamily="34" charset="0"/>
                <a:cs typeface="Arial" panose="020B0604020202020204" pitchFamily="34" charset="0"/>
              </a:rPr>
              <a:t>AF Gruppen</a:t>
            </a:r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24D46953-51B1-2642-9E76-C78C4D2A5E20}"/>
              </a:ext>
            </a:extLst>
          </p:cNvPr>
          <p:cNvGrpSpPr/>
          <p:nvPr/>
        </p:nvGrpSpPr>
        <p:grpSpPr>
          <a:xfrm>
            <a:off x="2442040" y="-335454"/>
            <a:ext cx="1043680" cy="190800"/>
            <a:chOff x="2442040" y="-335454"/>
            <a:chExt cx="1043680" cy="190800"/>
          </a:xfrm>
        </p:grpSpPr>
        <p:sp>
          <p:nvSpPr>
            <p:cNvPr id="11" name="Rektangel 10">
              <a:extLst>
                <a:ext uri="{FF2B5EF4-FFF2-40B4-BE49-F238E27FC236}">
                  <a16:creationId xmlns:a16="http://schemas.microsoft.com/office/drawing/2014/main" id="{F09627A4-74A0-8C45-9058-B335B33AFAFD}"/>
                </a:ext>
              </a:extLst>
            </p:cNvPr>
            <p:cNvSpPr/>
            <p:nvPr/>
          </p:nvSpPr>
          <p:spPr>
            <a:xfrm>
              <a:off x="2442040" y="-335454"/>
              <a:ext cx="1043680" cy="19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grpSp>
          <p:nvGrpSpPr>
            <p:cNvPr id="12" name="Gruppe 11">
              <a:extLst>
                <a:ext uri="{FF2B5EF4-FFF2-40B4-BE49-F238E27FC236}">
                  <a16:creationId xmlns:a16="http://schemas.microsoft.com/office/drawing/2014/main" id="{BC368A8A-CF7D-B143-99BD-836D6370F545}"/>
                </a:ext>
              </a:extLst>
            </p:cNvPr>
            <p:cNvGrpSpPr/>
            <p:nvPr/>
          </p:nvGrpSpPr>
          <p:grpSpPr>
            <a:xfrm>
              <a:off x="2506820" y="-296561"/>
              <a:ext cx="914120" cy="108000"/>
              <a:chOff x="2442040" y="-296561"/>
              <a:chExt cx="914120" cy="108000"/>
            </a:xfrm>
          </p:grpSpPr>
          <p:sp>
            <p:nvSpPr>
              <p:cNvPr id="13" name="Rektangel 12">
                <a:extLst>
                  <a:ext uri="{FF2B5EF4-FFF2-40B4-BE49-F238E27FC236}">
                    <a16:creationId xmlns:a16="http://schemas.microsoft.com/office/drawing/2014/main" id="{B2AB4584-DF32-2E4D-A0C2-BCDA17515661}"/>
                  </a:ext>
                </a:extLst>
              </p:cNvPr>
              <p:cNvSpPr/>
              <p:nvPr/>
            </p:nvSpPr>
            <p:spPr>
              <a:xfrm>
                <a:off x="2442040" y="-296561"/>
                <a:ext cx="108000" cy="108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" name="Rektangel 13">
                <a:extLst>
                  <a:ext uri="{FF2B5EF4-FFF2-40B4-BE49-F238E27FC236}">
                    <a16:creationId xmlns:a16="http://schemas.microsoft.com/office/drawing/2014/main" id="{307AD813-2F95-B145-8866-AB893EE32AAF}"/>
                  </a:ext>
                </a:extLst>
              </p:cNvPr>
              <p:cNvSpPr/>
              <p:nvPr/>
            </p:nvSpPr>
            <p:spPr>
              <a:xfrm>
                <a:off x="2764488" y="-296561"/>
                <a:ext cx="108000" cy="108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" name="Rektangel 14">
                <a:extLst>
                  <a:ext uri="{FF2B5EF4-FFF2-40B4-BE49-F238E27FC236}">
                    <a16:creationId xmlns:a16="http://schemas.microsoft.com/office/drawing/2014/main" id="{0D9CDADD-E0FB-CE40-9647-33E2462E729E}"/>
                  </a:ext>
                </a:extLst>
              </p:cNvPr>
              <p:cNvSpPr/>
              <p:nvPr/>
            </p:nvSpPr>
            <p:spPr>
              <a:xfrm>
                <a:off x="3248160" y="-296561"/>
                <a:ext cx="108000" cy="108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" name="Rektangel 15">
                <a:extLst>
                  <a:ext uri="{FF2B5EF4-FFF2-40B4-BE49-F238E27FC236}">
                    <a16:creationId xmlns:a16="http://schemas.microsoft.com/office/drawing/2014/main" id="{52CC5802-59F2-8A4C-B373-F82F84A464EA}"/>
                  </a:ext>
                </a:extLst>
              </p:cNvPr>
              <p:cNvSpPr/>
              <p:nvPr/>
            </p:nvSpPr>
            <p:spPr>
              <a:xfrm>
                <a:off x="2603264" y="-296561"/>
                <a:ext cx="108000" cy="1080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" name="Rektangel 18">
                <a:extLst>
                  <a:ext uri="{FF2B5EF4-FFF2-40B4-BE49-F238E27FC236}">
                    <a16:creationId xmlns:a16="http://schemas.microsoft.com/office/drawing/2014/main" id="{F94FA0C1-68E6-464E-AC09-2AE1AEE87E0B}"/>
                  </a:ext>
                </a:extLst>
              </p:cNvPr>
              <p:cNvSpPr/>
              <p:nvPr/>
            </p:nvSpPr>
            <p:spPr>
              <a:xfrm>
                <a:off x="2925712" y="-296561"/>
                <a:ext cx="108000" cy="108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" name="Rektangel 19">
                <a:extLst>
                  <a:ext uri="{FF2B5EF4-FFF2-40B4-BE49-F238E27FC236}">
                    <a16:creationId xmlns:a16="http://schemas.microsoft.com/office/drawing/2014/main" id="{EF895D5F-CFC3-1F42-8E10-31C2985F98C1}"/>
                  </a:ext>
                </a:extLst>
              </p:cNvPr>
              <p:cNvSpPr/>
              <p:nvPr/>
            </p:nvSpPr>
            <p:spPr>
              <a:xfrm>
                <a:off x="3086936" y="-296561"/>
                <a:ext cx="108000" cy="108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</p:grpSp>
      </p:grpSp>
      <p:sp>
        <p:nvSpPr>
          <p:cNvPr id="26" name="Tittel 1">
            <a:extLst>
              <a:ext uri="{FF2B5EF4-FFF2-40B4-BE49-F238E27FC236}">
                <a16:creationId xmlns:a16="http://schemas.microsoft.com/office/drawing/2014/main" id="{9363A00E-1349-4947-AA83-0BB76A66A8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" y="-2"/>
            <a:ext cx="4619624" cy="3438000"/>
          </a:xfrm>
          <a:noFill/>
        </p:spPr>
        <p:txBody>
          <a:bodyPr lIns="720000" tIns="720000" rIns="540000" bIns="360000" anchor="b" anchorCtr="0">
            <a:noAutofit/>
          </a:bodyPr>
          <a:lstStyle>
            <a:lvl1pPr algn="l">
              <a:lnSpc>
                <a:spcPct val="90000"/>
              </a:lnSpc>
              <a:defRPr sz="3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27" name="Undertittel 2">
            <a:extLst>
              <a:ext uri="{FF2B5EF4-FFF2-40B4-BE49-F238E27FC236}">
                <a16:creationId xmlns:a16="http://schemas.microsoft.com/office/drawing/2014/main" id="{48443F58-F050-4D81-BA7C-1187E2165C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1" y="3429000"/>
            <a:ext cx="4619625" cy="3429000"/>
          </a:xfrm>
        </p:spPr>
        <p:txBody>
          <a:bodyPr lIns="720000" rIns="72000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30FCD4D0-19E7-4677-96E8-BA348B6AAF2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69324" y="0"/>
            <a:ext cx="1622675" cy="161999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2" t="33271" r="33444" b="-3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35144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54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alternativ gr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F5C306A-CAD5-415E-81D7-6C8639C6B0D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619624" y="0"/>
            <a:ext cx="7572375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7FE123C0-69B0-E642-86BE-36980F897039}"/>
              </a:ext>
            </a:extLst>
          </p:cNvPr>
          <p:cNvSpPr txBox="1"/>
          <p:nvPr/>
        </p:nvSpPr>
        <p:spPr>
          <a:xfrm>
            <a:off x="719998" y="-340468"/>
            <a:ext cx="1668818" cy="180425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lang="nb-NO" sz="700" noProof="1">
                <a:latin typeface="Arial" panose="020B0604020202020204" pitchFamily="34" charset="0"/>
                <a:cs typeface="Arial" panose="020B0604020202020204" pitchFamily="34" charset="0"/>
              </a:rPr>
              <a:t>AF Gruppen</a:t>
            </a:r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24D46953-51B1-2642-9E76-C78C4D2A5E20}"/>
              </a:ext>
            </a:extLst>
          </p:cNvPr>
          <p:cNvGrpSpPr/>
          <p:nvPr/>
        </p:nvGrpSpPr>
        <p:grpSpPr>
          <a:xfrm>
            <a:off x="2442040" y="-335454"/>
            <a:ext cx="1043680" cy="190800"/>
            <a:chOff x="2442040" y="-335454"/>
            <a:chExt cx="1043680" cy="190800"/>
          </a:xfrm>
        </p:grpSpPr>
        <p:sp>
          <p:nvSpPr>
            <p:cNvPr id="11" name="Rektangel 10">
              <a:extLst>
                <a:ext uri="{FF2B5EF4-FFF2-40B4-BE49-F238E27FC236}">
                  <a16:creationId xmlns:a16="http://schemas.microsoft.com/office/drawing/2014/main" id="{F09627A4-74A0-8C45-9058-B335B33AFAFD}"/>
                </a:ext>
              </a:extLst>
            </p:cNvPr>
            <p:cNvSpPr/>
            <p:nvPr/>
          </p:nvSpPr>
          <p:spPr>
            <a:xfrm>
              <a:off x="2442040" y="-335454"/>
              <a:ext cx="1043680" cy="19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grpSp>
          <p:nvGrpSpPr>
            <p:cNvPr id="12" name="Gruppe 11">
              <a:extLst>
                <a:ext uri="{FF2B5EF4-FFF2-40B4-BE49-F238E27FC236}">
                  <a16:creationId xmlns:a16="http://schemas.microsoft.com/office/drawing/2014/main" id="{BC368A8A-CF7D-B143-99BD-836D6370F545}"/>
                </a:ext>
              </a:extLst>
            </p:cNvPr>
            <p:cNvGrpSpPr/>
            <p:nvPr/>
          </p:nvGrpSpPr>
          <p:grpSpPr>
            <a:xfrm>
              <a:off x="2506820" y="-296561"/>
              <a:ext cx="914120" cy="108000"/>
              <a:chOff x="2442040" y="-296561"/>
              <a:chExt cx="914120" cy="108000"/>
            </a:xfrm>
          </p:grpSpPr>
          <p:sp>
            <p:nvSpPr>
              <p:cNvPr id="13" name="Rektangel 12">
                <a:extLst>
                  <a:ext uri="{FF2B5EF4-FFF2-40B4-BE49-F238E27FC236}">
                    <a16:creationId xmlns:a16="http://schemas.microsoft.com/office/drawing/2014/main" id="{B2AB4584-DF32-2E4D-A0C2-BCDA17515661}"/>
                  </a:ext>
                </a:extLst>
              </p:cNvPr>
              <p:cNvSpPr/>
              <p:nvPr/>
            </p:nvSpPr>
            <p:spPr>
              <a:xfrm>
                <a:off x="2442040" y="-296561"/>
                <a:ext cx="108000" cy="108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" name="Rektangel 13">
                <a:extLst>
                  <a:ext uri="{FF2B5EF4-FFF2-40B4-BE49-F238E27FC236}">
                    <a16:creationId xmlns:a16="http://schemas.microsoft.com/office/drawing/2014/main" id="{307AD813-2F95-B145-8866-AB893EE32AAF}"/>
                  </a:ext>
                </a:extLst>
              </p:cNvPr>
              <p:cNvSpPr/>
              <p:nvPr/>
            </p:nvSpPr>
            <p:spPr>
              <a:xfrm>
                <a:off x="2764488" y="-296561"/>
                <a:ext cx="108000" cy="108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" name="Rektangel 14">
                <a:extLst>
                  <a:ext uri="{FF2B5EF4-FFF2-40B4-BE49-F238E27FC236}">
                    <a16:creationId xmlns:a16="http://schemas.microsoft.com/office/drawing/2014/main" id="{0D9CDADD-E0FB-CE40-9647-33E2462E729E}"/>
                  </a:ext>
                </a:extLst>
              </p:cNvPr>
              <p:cNvSpPr/>
              <p:nvPr/>
            </p:nvSpPr>
            <p:spPr>
              <a:xfrm>
                <a:off x="3248160" y="-296561"/>
                <a:ext cx="108000" cy="108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" name="Rektangel 15">
                <a:extLst>
                  <a:ext uri="{FF2B5EF4-FFF2-40B4-BE49-F238E27FC236}">
                    <a16:creationId xmlns:a16="http://schemas.microsoft.com/office/drawing/2014/main" id="{52CC5802-59F2-8A4C-B373-F82F84A464EA}"/>
                  </a:ext>
                </a:extLst>
              </p:cNvPr>
              <p:cNvSpPr/>
              <p:nvPr/>
            </p:nvSpPr>
            <p:spPr>
              <a:xfrm>
                <a:off x="2603264" y="-296561"/>
                <a:ext cx="108000" cy="1080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" name="Rektangel 18">
                <a:extLst>
                  <a:ext uri="{FF2B5EF4-FFF2-40B4-BE49-F238E27FC236}">
                    <a16:creationId xmlns:a16="http://schemas.microsoft.com/office/drawing/2014/main" id="{F94FA0C1-68E6-464E-AC09-2AE1AEE87E0B}"/>
                  </a:ext>
                </a:extLst>
              </p:cNvPr>
              <p:cNvSpPr/>
              <p:nvPr/>
            </p:nvSpPr>
            <p:spPr>
              <a:xfrm>
                <a:off x="2925712" y="-296561"/>
                <a:ext cx="108000" cy="108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" name="Rektangel 19">
                <a:extLst>
                  <a:ext uri="{FF2B5EF4-FFF2-40B4-BE49-F238E27FC236}">
                    <a16:creationId xmlns:a16="http://schemas.microsoft.com/office/drawing/2014/main" id="{EF895D5F-CFC3-1F42-8E10-31C2985F98C1}"/>
                  </a:ext>
                </a:extLst>
              </p:cNvPr>
              <p:cNvSpPr/>
              <p:nvPr/>
            </p:nvSpPr>
            <p:spPr>
              <a:xfrm>
                <a:off x="3086936" y="-296561"/>
                <a:ext cx="108000" cy="108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</p:grpSp>
      </p:grpSp>
      <p:sp>
        <p:nvSpPr>
          <p:cNvPr id="26" name="Tittel 1">
            <a:extLst>
              <a:ext uri="{FF2B5EF4-FFF2-40B4-BE49-F238E27FC236}">
                <a16:creationId xmlns:a16="http://schemas.microsoft.com/office/drawing/2014/main" id="{9363A00E-1349-4947-AA83-0BB76A66A8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" y="-2"/>
            <a:ext cx="4619624" cy="3438000"/>
          </a:xfrm>
          <a:solidFill>
            <a:schemeClr val="tx2"/>
          </a:solidFill>
        </p:spPr>
        <p:txBody>
          <a:bodyPr lIns="720000" tIns="720000" rIns="540000" bIns="360000" anchor="b" anchorCtr="0">
            <a:noAutofit/>
          </a:bodyPr>
          <a:lstStyle>
            <a:lvl1pPr algn="l">
              <a:lnSpc>
                <a:spcPct val="9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27" name="Undertittel 2">
            <a:extLst>
              <a:ext uri="{FF2B5EF4-FFF2-40B4-BE49-F238E27FC236}">
                <a16:creationId xmlns:a16="http://schemas.microsoft.com/office/drawing/2014/main" id="{48443F58-F050-4D81-BA7C-1187E2165C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1" y="3429000"/>
            <a:ext cx="4619625" cy="3429000"/>
          </a:xfrm>
          <a:solidFill>
            <a:schemeClr val="tx2"/>
          </a:solidFill>
        </p:spPr>
        <p:txBody>
          <a:bodyPr lIns="720000" rIns="720000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D218A4F1-B622-4654-BDDD-23C7587842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69324" y="0"/>
            <a:ext cx="1622675" cy="1619998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2" t="33271" r="33444" b="-3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01542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5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8198578-1CC1-9B42-A782-25F216402B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1932563"/>
            <a:ext cx="10763250" cy="420544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F9651C1E-8EFA-5A44-9E4A-5B5B5B5BFB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04CAD5E9-1DF4-7A46-AB26-B7E752C3B0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81157803-BFB9-5448-8FED-3C32C96D20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3" name="Plassholder for tekst 13">
            <a:extLst>
              <a:ext uri="{FF2B5EF4-FFF2-40B4-BE49-F238E27FC236}">
                <a16:creationId xmlns:a16="http://schemas.microsoft.com/office/drawing/2014/main" id="{5BDEC490-5235-9843-9E24-EB55EF35FF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58CC506-3884-4A45-8D33-86DCEA595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631507"/>
            <a:ext cx="10757628" cy="1019278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417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4">
          <p15:clr>
            <a:srgbClr val="FBAE40"/>
          </p15:clr>
        </p15:guide>
        <p15:guide id="2" orient="horz" pos="3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Normal sid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9797" y="274639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99797" y="1600201"/>
            <a:ext cx="10972800" cy="452596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1435587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grå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BA185CE-0C4D-BA4C-AD56-EC7A01C6D2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631507"/>
            <a:ext cx="10757628" cy="1019278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8198578-1CC1-9B42-A782-25F216402B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1932563"/>
            <a:ext cx="10763250" cy="42054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F9651C1E-8EFA-5A44-9E4A-5B5B5B5BFB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04CAD5E9-1DF4-7A46-AB26-B7E752C3B0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nb-NO"/>
              <a:t>AF Presentasjonsmal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81157803-BFB9-5448-8FED-3C32C96D20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tekst 13">
            <a:extLst>
              <a:ext uri="{FF2B5EF4-FFF2-40B4-BE49-F238E27FC236}">
                <a16:creationId xmlns:a16="http://schemas.microsoft.com/office/drawing/2014/main" id="{6DE9EF62-0349-414F-B572-7B78069149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3097686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4">
          <p15:clr>
            <a:srgbClr val="FBAE40"/>
          </p15:clr>
        </p15:guide>
        <p15:guide id="2" orient="horz" pos="34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C929E29-018C-5F49-AFD1-E1D4A5301A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998" y="719138"/>
            <a:ext cx="7704156" cy="2709862"/>
          </a:xfrm>
        </p:spPr>
        <p:txBody>
          <a:bodyPr bIns="180000" anchor="b" anchorCtr="0">
            <a:noAutofit/>
          </a:bodyPr>
          <a:lstStyle>
            <a:lvl1pPr>
              <a:lnSpc>
                <a:spcPct val="90000"/>
              </a:lnSpc>
              <a:defRPr sz="5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C2ADE2A-446E-F44D-8B0C-69B38F62E15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9998" y="3741905"/>
            <a:ext cx="7704156" cy="234774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5613402-9B9E-8B49-8A1C-573C429B4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F9809E6-B518-3F4B-B80A-00A1D6FE6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F6EC21E-B709-FC48-9BBF-7B55CC7A9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58ACA20-2938-4BF7-926B-FE00C391E542}"/>
              </a:ext>
            </a:extLst>
          </p:cNvPr>
          <p:cNvGrpSpPr/>
          <p:nvPr userDrawn="1"/>
        </p:nvGrpSpPr>
        <p:grpSpPr>
          <a:xfrm>
            <a:off x="11583006" y="179995"/>
            <a:ext cx="428994" cy="428994"/>
            <a:chOff x="11583006" y="179995"/>
            <a:chExt cx="428994" cy="428994"/>
          </a:xfrm>
        </p:grpSpPr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A50E0565-9EB5-B543-9BD1-C0D47B94FC7E}"/>
                </a:ext>
              </a:extLst>
            </p:cNvPr>
            <p:cNvSpPr/>
            <p:nvPr/>
          </p:nvSpPr>
          <p:spPr>
            <a:xfrm>
              <a:off x="11583006" y="179995"/>
              <a:ext cx="428994" cy="42899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1" name="Grafikk 8">
              <a:extLst>
                <a:ext uri="{FF2B5EF4-FFF2-40B4-BE49-F238E27FC236}">
                  <a16:creationId xmlns:a16="http://schemas.microsoft.com/office/drawing/2014/main" id="{9DD924FC-2F34-4DB6-8351-73E79ACD2F3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583006" y="179995"/>
              <a:ext cx="428994" cy="4289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65759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loverskrift lite bil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BA2BBCF1-6F0F-8A4F-A227-ABF431951B90}"/>
              </a:ext>
            </a:extLst>
          </p:cNvPr>
          <p:cNvSpPr/>
          <p:nvPr/>
        </p:nvSpPr>
        <p:spPr>
          <a:xfrm>
            <a:off x="0" y="0"/>
            <a:ext cx="46152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+mn-lt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C929E29-018C-5F49-AFD1-E1D4A5301A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40350" y="719138"/>
            <a:ext cx="6137275" cy="2709862"/>
          </a:xfrm>
        </p:spPr>
        <p:txBody>
          <a:bodyPr rIns="360000" bIns="180000" anchor="b" anchorCtr="0">
            <a:noAutofit/>
          </a:bodyPr>
          <a:lstStyle>
            <a:lvl1pPr>
              <a:lnSpc>
                <a:spcPct val="90000"/>
              </a:lnSpc>
              <a:defRPr sz="5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C2ADE2A-446E-F44D-8B0C-69B38F62E15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340350" y="3741905"/>
            <a:ext cx="6137275" cy="234774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5613402-9B9E-8B49-8A1C-573C429B4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F9809E6-B518-3F4B-B80A-00A1D6FE6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j-lt"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F6EC21E-B709-FC48-9BBF-7B55CC7A9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Bilde">
            <a:extLst>
              <a:ext uri="{FF2B5EF4-FFF2-40B4-BE49-F238E27FC236}">
                <a16:creationId xmlns:a16="http://schemas.microsoft.com/office/drawing/2014/main" id="{F5150A65-DBF1-1A48-8233-29551C007E9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4615200" cy="4615200"/>
          </a:xfrm>
          <a:solidFill>
            <a:schemeClr val="bg2"/>
          </a:solidFill>
        </p:spPr>
        <p:txBody>
          <a:bodyPr lIns="720000" tIns="720000" rIns="720000" bIns="720000"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340693A-1804-4560-A5F2-1CB64105EAD3}"/>
              </a:ext>
            </a:extLst>
          </p:cNvPr>
          <p:cNvGrpSpPr/>
          <p:nvPr userDrawn="1"/>
        </p:nvGrpSpPr>
        <p:grpSpPr>
          <a:xfrm>
            <a:off x="11583006" y="179995"/>
            <a:ext cx="428994" cy="428994"/>
            <a:chOff x="11583006" y="179995"/>
            <a:chExt cx="428994" cy="428994"/>
          </a:xfrm>
        </p:grpSpPr>
        <p:sp>
          <p:nvSpPr>
            <p:cNvPr id="13" name="Rektangel 7">
              <a:extLst>
                <a:ext uri="{FF2B5EF4-FFF2-40B4-BE49-F238E27FC236}">
                  <a16:creationId xmlns:a16="http://schemas.microsoft.com/office/drawing/2014/main" id="{14D66226-0868-46F7-B5FC-13911898BEF7}"/>
                </a:ext>
              </a:extLst>
            </p:cNvPr>
            <p:cNvSpPr/>
            <p:nvPr/>
          </p:nvSpPr>
          <p:spPr>
            <a:xfrm>
              <a:off x="11583006" y="179995"/>
              <a:ext cx="428994" cy="42899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4" name="Grafikk 8">
              <a:extLst>
                <a:ext uri="{FF2B5EF4-FFF2-40B4-BE49-F238E27FC236}">
                  <a16:creationId xmlns:a16="http://schemas.microsoft.com/office/drawing/2014/main" id="{0BB41FEB-3E03-4AC5-8600-2D759C5F9EB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583006" y="179995"/>
              <a:ext cx="428994" cy="4289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4156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910">
          <p15:clr>
            <a:srgbClr val="FBAE40"/>
          </p15:clr>
        </p15:guide>
        <p15:guide id="2" pos="3364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 stort bil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BA2BBCF1-6F0F-8A4F-A227-ABF431951B90}"/>
              </a:ext>
            </a:extLst>
          </p:cNvPr>
          <p:cNvSpPr/>
          <p:nvPr/>
        </p:nvSpPr>
        <p:spPr>
          <a:xfrm flipV="1">
            <a:off x="0" y="5335200"/>
            <a:ext cx="5340350" cy="1522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CA9475B8-00D9-476E-9020-2BBEB81679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40350" y="0"/>
            <a:ext cx="6851650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C929E29-018C-5F49-AFD1-E1D4A5301A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796"/>
            <a:ext cx="5340350" cy="3438000"/>
          </a:xfrm>
        </p:spPr>
        <p:txBody>
          <a:bodyPr lIns="720000" tIns="720000" rIns="360000" bIns="180000" anchor="b" anchorCtr="0">
            <a:noAutofit/>
          </a:bodyPr>
          <a:lstStyle>
            <a:lvl1pPr>
              <a:lnSpc>
                <a:spcPct val="90000"/>
              </a:lnSpc>
              <a:defRPr sz="5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C2ADE2A-446E-F44D-8B0C-69B38F62E15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0" y="3429000"/>
            <a:ext cx="5340350" cy="1906200"/>
          </a:xfrm>
        </p:spPr>
        <p:txBody>
          <a:bodyPr lIns="720000" rIns="360000" bIns="180000">
            <a:norm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5613402-9B9E-8B49-8A1C-573C429B4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F9809E6-B518-3F4B-B80A-00A1D6FE6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F6EC21E-B709-FC48-9BBF-7B55CC7A9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Myriad Pro" panose="020B0503030403020204" pitchFamily="34" charset="0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96610DBE-3562-451E-861A-C9CB0A5B0BF9}"/>
              </a:ext>
            </a:extLst>
          </p:cNvPr>
          <p:cNvSpPr txBox="1">
            <a:spLocks/>
          </p:cNvSpPr>
          <p:nvPr userDrawn="1"/>
        </p:nvSpPr>
        <p:spPr>
          <a:xfrm>
            <a:off x="11583005" y="0"/>
            <a:ext cx="608995" cy="608994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1" t="29490" r="29556" b="-2"/>
            </a:stretch>
          </a:blipFill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None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8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02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36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70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0208227F-C722-4A36-9BF0-ECCC1A5760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46699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364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 utfallend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5481A32F-4AD6-4E16-A15D-3A2E7F5BEC7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C929E29-018C-5F49-AFD1-E1D4A5301A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4626011" cy="3438000"/>
          </a:xfrm>
          <a:solidFill>
            <a:schemeClr val="accent1"/>
          </a:solidFill>
        </p:spPr>
        <p:txBody>
          <a:bodyPr lIns="720000" tIns="720000" rIns="360000" bIns="180000" anchor="b" anchorCtr="0">
            <a:noAutofit/>
          </a:bodyPr>
          <a:lstStyle>
            <a:lvl1pPr>
              <a:lnSpc>
                <a:spcPct val="90000"/>
              </a:lnSpc>
              <a:defRPr sz="5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C2ADE2A-446E-F44D-8B0C-69B38F62E15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0" y="3429000"/>
            <a:ext cx="4626011" cy="1189801"/>
          </a:xfrm>
          <a:solidFill>
            <a:schemeClr val="accent1"/>
          </a:solidFill>
        </p:spPr>
        <p:txBody>
          <a:bodyPr lIns="720000" rIns="360000" bIns="18000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5613402-9B9E-8B49-8A1C-573C429B4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F9809E6-B518-3F4B-B80A-00A1D6FE6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0840" y="6419782"/>
            <a:ext cx="10389328" cy="187105"/>
          </a:xfrm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F6EC21E-B709-FC48-9BBF-7B55CC7A9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E2EA377E-1F4F-4E5E-B619-15182415ADB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29392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91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 utfallen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BEB8DCAA-94DE-4A9F-B463-530E94719ED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 algn="r">
              <a:buNone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/>
            </a:pPr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C929E29-018C-5F49-AFD1-E1D4A5301A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2239198"/>
            <a:ext cx="4619624" cy="2707200"/>
          </a:xfrm>
          <a:solidFill>
            <a:schemeClr val="accent1"/>
          </a:solidFill>
        </p:spPr>
        <p:txBody>
          <a:bodyPr lIns="720000" tIns="720000" rIns="360000" bIns="360000" anchor="t" anchorCtr="0">
            <a:noAutofit/>
          </a:bodyPr>
          <a:lstStyle>
            <a:lvl1pPr>
              <a:lnSpc>
                <a:spcPct val="90000"/>
              </a:lnSpc>
              <a:defRPr sz="5800"/>
            </a:lvl1pPr>
          </a:lstStyle>
          <a:p>
            <a:r>
              <a:rPr lang="nb-NO"/>
              <a:t>Tittel to linjer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C2ADE2A-446E-F44D-8B0C-69B38F62E15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-1" y="4936341"/>
            <a:ext cx="4619626" cy="1916864"/>
          </a:xfrm>
          <a:solidFill>
            <a:schemeClr val="accent1"/>
          </a:solidFill>
        </p:spPr>
        <p:txBody>
          <a:bodyPr lIns="720000" rIns="360000" bIns="64800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5613402-9B9E-8B49-8A1C-573C429B4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F6EC21E-B709-FC48-9BBF-7B55CC7A9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C608973-1122-4BA3-BAC7-5BD855A2AB7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79597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91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 utfallend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e">
            <a:extLst>
              <a:ext uri="{FF2B5EF4-FFF2-40B4-BE49-F238E27FC236}">
                <a16:creationId xmlns:a16="http://schemas.microsoft.com/office/drawing/2014/main" id="{8237FB4C-407D-4290-8BC0-BEA5DDC0789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720000" tIns="720000" rIns="720000" bIns="720000" anchor="ctr" anchorCtr="0"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CB7252C-2FC3-4CA6-9CC6-99643D2747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2376" y="2239198"/>
            <a:ext cx="4619624" cy="2707200"/>
          </a:xfrm>
          <a:solidFill>
            <a:schemeClr val="accent1"/>
          </a:solidFill>
        </p:spPr>
        <p:txBody>
          <a:bodyPr lIns="720000" tIns="720000" rIns="360000" bIns="360000" anchor="t" anchorCtr="0">
            <a:noAutofit/>
          </a:bodyPr>
          <a:lstStyle>
            <a:lvl1pPr>
              <a:lnSpc>
                <a:spcPct val="90000"/>
              </a:lnSpc>
              <a:defRPr sz="5800"/>
            </a:lvl1pPr>
          </a:lstStyle>
          <a:p>
            <a:r>
              <a:rPr lang="nb-NO"/>
              <a:t>Tittel to linjer</a:t>
            </a:r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C1F2C58D-14F9-4521-B1B9-4ECFB5299DC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572374" y="4936341"/>
            <a:ext cx="4619626" cy="1916864"/>
          </a:xfrm>
          <a:solidFill>
            <a:schemeClr val="accent1"/>
          </a:solidFill>
        </p:spPr>
        <p:txBody>
          <a:bodyPr lIns="720000" rIns="360000" bIns="64800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5613402-9B9E-8B49-8A1C-573C429B4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F6EC21E-B709-FC48-9BBF-7B55CC7A9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308746C-860C-40FF-93C3-76E93B9389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83006" y="0"/>
            <a:ext cx="610000" cy="608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6" t="29843" r="30028" b="-1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nb-NO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50228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954A463-EC8E-5847-B083-46ED2B2036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0" y="1933200"/>
            <a:ext cx="5202000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18FB1FE6-1882-1F4B-972F-303EE5A6CD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0000" y="1933200"/>
            <a:ext cx="5202000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tekst 13">
            <a:extLst>
              <a:ext uri="{FF2B5EF4-FFF2-40B4-BE49-F238E27FC236}">
                <a16:creationId xmlns:a16="http://schemas.microsoft.com/office/drawing/2014/main" id="{8B9A2659-739A-4C9F-924D-B7BBC42CFF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3791891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innholdsd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954A463-EC8E-5847-B083-46ED2B2036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0" y="1933200"/>
            <a:ext cx="5202000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EBBC91-D69E-8A4D-A57E-AD8767998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tekst 13">
            <a:extLst>
              <a:ext uri="{FF2B5EF4-FFF2-40B4-BE49-F238E27FC236}">
                <a16:creationId xmlns:a16="http://schemas.microsoft.com/office/drawing/2014/main" id="{C75C545F-2236-458A-86F6-73B9E7B8B7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3772636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3728">
          <p15:clr>
            <a:srgbClr val="FBAE40"/>
          </p15:clr>
        </p15:guide>
        <p15:guide id="4" pos="3949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954A463-EC8E-5847-B083-46ED2B2036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0" y="1933200"/>
            <a:ext cx="3348766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18FB1FE6-1882-1F4B-972F-303EE5A6CD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24045" y="1933200"/>
            <a:ext cx="3348766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2A978847-6F96-2844-8409-0F6D45441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5EF853A-31AC-4946-A28E-84235FF1B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C373023-B764-3644-87D6-2DDA504D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Plassholder for innhold 3">
            <a:extLst>
              <a:ext uri="{FF2B5EF4-FFF2-40B4-BE49-F238E27FC236}">
                <a16:creationId xmlns:a16="http://schemas.microsoft.com/office/drawing/2014/main" id="{756B11D1-AC17-F34E-B03E-8B3BBCA1A6A0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129625" y="1933200"/>
            <a:ext cx="3348000" cy="420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D8D852E-2E7A-9F42-A673-7300C8EA5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tekst 13">
            <a:extLst>
              <a:ext uri="{FF2B5EF4-FFF2-40B4-BE49-F238E27FC236}">
                <a16:creationId xmlns:a16="http://schemas.microsoft.com/office/drawing/2014/main" id="{9B426891-3582-4A9B-81F9-8E6E6968AC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186549"/>
            <a:ext cx="811761" cy="355276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wrap="none" lIns="0" tIns="36000" rIns="0" bIns="7200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nb-NO"/>
              <a:t>Stikktittel</a:t>
            </a:r>
          </a:p>
        </p:txBody>
      </p:sp>
    </p:spTree>
    <p:extLst>
      <p:ext uri="{BB962C8B-B14F-4D97-AF65-F5344CB8AC3E}">
        <p14:creationId xmlns:p14="http://schemas.microsoft.com/office/powerpoint/2010/main" val="2201439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">
          <p15:clr>
            <a:srgbClr val="FBAE40"/>
          </p15:clr>
        </p15:guide>
        <p15:guide id="2" orient="horz" pos="339">
          <p15:clr>
            <a:srgbClr val="FBAE40"/>
          </p15:clr>
        </p15:guide>
        <p15:guide id="3" pos="2787">
          <p15:clr>
            <a:srgbClr val="FBAE40"/>
          </p15:clr>
        </p15:guide>
        <p15:guide id="4" pos="2560">
          <p15:clr>
            <a:srgbClr val="FBAE40"/>
          </p15:clr>
        </p15:guide>
        <p15:guide id="5" pos="4897">
          <p15:clr>
            <a:srgbClr val="FBAE40"/>
          </p15:clr>
        </p15:guide>
        <p15:guide id="6" pos="512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1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slideLayout" Target="../slideLayouts/slideLayout69.xml"/><Relationship Id="rId39" Type="http://schemas.openxmlformats.org/officeDocument/2006/relationships/slideLayout" Target="../slideLayouts/slideLayout82.xml"/><Relationship Id="rId21" Type="http://schemas.openxmlformats.org/officeDocument/2006/relationships/slideLayout" Target="../slideLayouts/slideLayout64.xml"/><Relationship Id="rId34" Type="http://schemas.openxmlformats.org/officeDocument/2006/relationships/slideLayout" Target="../slideLayouts/slideLayout77.xml"/><Relationship Id="rId42" Type="http://schemas.openxmlformats.org/officeDocument/2006/relationships/slideLayout" Target="../slideLayouts/slideLayout85.xml"/><Relationship Id="rId47" Type="http://schemas.openxmlformats.org/officeDocument/2006/relationships/image" Target="../media/image15.png"/><Relationship Id="rId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72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slideLayout" Target="../slideLayouts/slideLayout67.xml"/><Relationship Id="rId32" Type="http://schemas.openxmlformats.org/officeDocument/2006/relationships/slideLayout" Target="../slideLayouts/slideLayout75.xml"/><Relationship Id="rId37" Type="http://schemas.openxmlformats.org/officeDocument/2006/relationships/slideLayout" Target="../slideLayouts/slideLayout80.xml"/><Relationship Id="rId40" Type="http://schemas.openxmlformats.org/officeDocument/2006/relationships/slideLayout" Target="../slideLayouts/slideLayout83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slideLayout" Target="../slideLayouts/slideLayout66.xml"/><Relationship Id="rId28" Type="http://schemas.openxmlformats.org/officeDocument/2006/relationships/slideLayout" Target="../slideLayouts/slideLayout71.xml"/><Relationship Id="rId36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31" Type="http://schemas.openxmlformats.org/officeDocument/2006/relationships/slideLayout" Target="../slideLayouts/slideLayout74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Relationship Id="rId27" Type="http://schemas.openxmlformats.org/officeDocument/2006/relationships/slideLayout" Target="../slideLayouts/slideLayout70.xml"/><Relationship Id="rId30" Type="http://schemas.openxmlformats.org/officeDocument/2006/relationships/slideLayout" Target="../slideLayouts/slideLayout73.xml"/><Relationship Id="rId35" Type="http://schemas.openxmlformats.org/officeDocument/2006/relationships/slideLayout" Target="../slideLayouts/slideLayout78.xml"/><Relationship Id="rId43" Type="http://schemas.openxmlformats.org/officeDocument/2006/relationships/theme" Target="../theme/theme5.xml"/><Relationship Id="rId48" Type="http://schemas.openxmlformats.org/officeDocument/2006/relationships/image" Target="../media/image16.svg"/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slideLayout" Target="../slideLayouts/slideLayout68.xml"/><Relationship Id="rId33" Type="http://schemas.openxmlformats.org/officeDocument/2006/relationships/slideLayout" Target="../slideLayouts/slideLayout76.xml"/><Relationship Id="rId38" Type="http://schemas.openxmlformats.org/officeDocument/2006/relationships/slideLayout" Target="../slideLayouts/slideLayout81.xml"/><Relationship Id="rId46" Type="http://schemas.openxmlformats.org/officeDocument/2006/relationships/image" Target="../media/image14.emf"/><Relationship Id="rId20" Type="http://schemas.openxmlformats.org/officeDocument/2006/relationships/slideLayout" Target="../slideLayouts/slideLayout63.xml"/><Relationship Id="rId41" Type="http://schemas.openxmlformats.org/officeDocument/2006/relationships/slideLayout" Target="../slideLayouts/slideLayout84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8.xml"/><Relationship Id="rId18" Type="http://schemas.openxmlformats.org/officeDocument/2006/relationships/slideLayout" Target="../slideLayouts/slideLayout103.xml"/><Relationship Id="rId26" Type="http://schemas.openxmlformats.org/officeDocument/2006/relationships/slideLayout" Target="../slideLayouts/slideLayout111.xml"/><Relationship Id="rId39" Type="http://schemas.openxmlformats.org/officeDocument/2006/relationships/slideLayout" Target="../slideLayouts/slideLayout124.xml"/><Relationship Id="rId21" Type="http://schemas.openxmlformats.org/officeDocument/2006/relationships/slideLayout" Target="../slideLayouts/slideLayout106.xml"/><Relationship Id="rId34" Type="http://schemas.openxmlformats.org/officeDocument/2006/relationships/slideLayout" Target="../slideLayouts/slideLayout119.xml"/><Relationship Id="rId42" Type="http://schemas.openxmlformats.org/officeDocument/2006/relationships/slideLayout" Target="../slideLayouts/slideLayout127.xml"/><Relationship Id="rId47" Type="http://schemas.openxmlformats.org/officeDocument/2006/relationships/image" Target="../media/image14.emf"/><Relationship Id="rId7" Type="http://schemas.openxmlformats.org/officeDocument/2006/relationships/slideLayout" Target="../slideLayouts/slideLayout92.xml"/><Relationship Id="rId2" Type="http://schemas.openxmlformats.org/officeDocument/2006/relationships/slideLayout" Target="../slideLayouts/slideLayout87.xml"/><Relationship Id="rId16" Type="http://schemas.openxmlformats.org/officeDocument/2006/relationships/slideLayout" Target="../slideLayouts/slideLayout101.xml"/><Relationship Id="rId29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96.xml"/><Relationship Id="rId24" Type="http://schemas.openxmlformats.org/officeDocument/2006/relationships/slideLayout" Target="../slideLayouts/slideLayout109.xml"/><Relationship Id="rId32" Type="http://schemas.openxmlformats.org/officeDocument/2006/relationships/slideLayout" Target="../slideLayouts/slideLayout117.xml"/><Relationship Id="rId37" Type="http://schemas.openxmlformats.org/officeDocument/2006/relationships/slideLayout" Target="../slideLayouts/slideLayout122.xml"/><Relationship Id="rId40" Type="http://schemas.openxmlformats.org/officeDocument/2006/relationships/slideLayout" Target="../slideLayouts/slideLayout125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100.xml"/><Relationship Id="rId23" Type="http://schemas.openxmlformats.org/officeDocument/2006/relationships/slideLayout" Target="../slideLayouts/slideLayout108.xml"/><Relationship Id="rId28" Type="http://schemas.openxmlformats.org/officeDocument/2006/relationships/slideLayout" Target="../slideLayouts/slideLayout113.xml"/><Relationship Id="rId36" Type="http://schemas.openxmlformats.org/officeDocument/2006/relationships/slideLayout" Target="../slideLayouts/slideLayout121.xml"/><Relationship Id="rId49" Type="http://schemas.openxmlformats.org/officeDocument/2006/relationships/image" Target="../media/image23.svg"/><Relationship Id="rId10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04.xml"/><Relationship Id="rId31" Type="http://schemas.openxmlformats.org/officeDocument/2006/relationships/slideLayout" Target="../slideLayouts/slideLayout116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99.xml"/><Relationship Id="rId22" Type="http://schemas.openxmlformats.org/officeDocument/2006/relationships/slideLayout" Target="../slideLayouts/slideLayout107.xml"/><Relationship Id="rId27" Type="http://schemas.openxmlformats.org/officeDocument/2006/relationships/slideLayout" Target="../slideLayouts/slideLayout112.xml"/><Relationship Id="rId30" Type="http://schemas.openxmlformats.org/officeDocument/2006/relationships/slideLayout" Target="../slideLayouts/slideLayout115.xml"/><Relationship Id="rId35" Type="http://schemas.openxmlformats.org/officeDocument/2006/relationships/slideLayout" Target="../slideLayouts/slideLayout120.xml"/><Relationship Id="rId43" Type="http://schemas.openxmlformats.org/officeDocument/2006/relationships/slideLayout" Target="../slideLayouts/slideLayout128.xml"/><Relationship Id="rId48" Type="http://schemas.openxmlformats.org/officeDocument/2006/relationships/image" Target="../media/image15.png"/><Relationship Id="rId8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7.xml"/><Relationship Id="rId17" Type="http://schemas.openxmlformats.org/officeDocument/2006/relationships/slideLayout" Target="../slideLayouts/slideLayout102.xml"/><Relationship Id="rId25" Type="http://schemas.openxmlformats.org/officeDocument/2006/relationships/slideLayout" Target="../slideLayouts/slideLayout110.xml"/><Relationship Id="rId33" Type="http://schemas.openxmlformats.org/officeDocument/2006/relationships/slideLayout" Target="../slideLayouts/slideLayout118.xml"/><Relationship Id="rId38" Type="http://schemas.openxmlformats.org/officeDocument/2006/relationships/slideLayout" Target="../slideLayouts/slideLayout123.xml"/><Relationship Id="rId46" Type="http://schemas.openxmlformats.org/officeDocument/2006/relationships/oleObject" Target="../embeddings/oleObject2.bin"/><Relationship Id="rId20" Type="http://schemas.openxmlformats.org/officeDocument/2006/relationships/slideLayout" Target="../slideLayouts/slideLayout105.xml"/><Relationship Id="rId41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1.xml"/><Relationship Id="rId18" Type="http://schemas.openxmlformats.org/officeDocument/2006/relationships/slideLayout" Target="../slideLayouts/slideLayout146.xml"/><Relationship Id="rId26" Type="http://schemas.openxmlformats.org/officeDocument/2006/relationships/slideLayout" Target="../slideLayouts/slideLayout154.xml"/><Relationship Id="rId39" Type="http://schemas.openxmlformats.org/officeDocument/2006/relationships/slideLayout" Target="../slideLayouts/slideLayout167.xml"/><Relationship Id="rId21" Type="http://schemas.openxmlformats.org/officeDocument/2006/relationships/slideLayout" Target="../slideLayouts/slideLayout149.xml"/><Relationship Id="rId34" Type="http://schemas.openxmlformats.org/officeDocument/2006/relationships/slideLayout" Target="../slideLayouts/slideLayout162.xml"/><Relationship Id="rId42" Type="http://schemas.openxmlformats.org/officeDocument/2006/relationships/slideLayout" Target="../slideLayouts/slideLayout170.xml"/><Relationship Id="rId47" Type="http://schemas.openxmlformats.org/officeDocument/2006/relationships/image" Target="../media/image15.png"/><Relationship Id="rId7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30.xml"/><Relationship Id="rId16" Type="http://schemas.openxmlformats.org/officeDocument/2006/relationships/slideLayout" Target="../slideLayouts/slideLayout144.xml"/><Relationship Id="rId29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24" Type="http://schemas.openxmlformats.org/officeDocument/2006/relationships/slideLayout" Target="../slideLayouts/slideLayout152.xml"/><Relationship Id="rId32" Type="http://schemas.openxmlformats.org/officeDocument/2006/relationships/slideLayout" Target="../slideLayouts/slideLayout160.xml"/><Relationship Id="rId37" Type="http://schemas.openxmlformats.org/officeDocument/2006/relationships/slideLayout" Target="../slideLayouts/slideLayout165.xml"/><Relationship Id="rId40" Type="http://schemas.openxmlformats.org/officeDocument/2006/relationships/slideLayout" Target="../slideLayouts/slideLayout168.xml"/><Relationship Id="rId45" Type="http://schemas.openxmlformats.org/officeDocument/2006/relationships/oleObject" Target="../embeddings/oleObject5.bin"/><Relationship Id="rId5" Type="http://schemas.openxmlformats.org/officeDocument/2006/relationships/slideLayout" Target="../slideLayouts/slideLayout133.xml"/><Relationship Id="rId15" Type="http://schemas.openxmlformats.org/officeDocument/2006/relationships/slideLayout" Target="../slideLayouts/slideLayout143.xml"/><Relationship Id="rId23" Type="http://schemas.openxmlformats.org/officeDocument/2006/relationships/slideLayout" Target="../slideLayouts/slideLayout151.xml"/><Relationship Id="rId28" Type="http://schemas.openxmlformats.org/officeDocument/2006/relationships/slideLayout" Target="../slideLayouts/slideLayout156.xml"/><Relationship Id="rId36" Type="http://schemas.openxmlformats.org/officeDocument/2006/relationships/slideLayout" Target="../slideLayouts/slideLayout164.xml"/><Relationship Id="rId10" Type="http://schemas.openxmlformats.org/officeDocument/2006/relationships/slideLayout" Target="../slideLayouts/slideLayout138.xml"/><Relationship Id="rId19" Type="http://schemas.openxmlformats.org/officeDocument/2006/relationships/slideLayout" Target="../slideLayouts/slideLayout147.xml"/><Relationship Id="rId31" Type="http://schemas.openxmlformats.org/officeDocument/2006/relationships/slideLayout" Target="../slideLayouts/slideLayout159.xml"/><Relationship Id="rId44" Type="http://schemas.openxmlformats.org/officeDocument/2006/relationships/tags" Target="../tags/tag5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42.xml"/><Relationship Id="rId22" Type="http://schemas.openxmlformats.org/officeDocument/2006/relationships/slideLayout" Target="../slideLayouts/slideLayout150.xml"/><Relationship Id="rId27" Type="http://schemas.openxmlformats.org/officeDocument/2006/relationships/slideLayout" Target="../slideLayouts/slideLayout155.xml"/><Relationship Id="rId30" Type="http://schemas.openxmlformats.org/officeDocument/2006/relationships/slideLayout" Target="../slideLayouts/slideLayout158.xml"/><Relationship Id="rId35" Type="http://schemas.openxmlformats.org/officeDocument/2006/relationships/slideLayout" Target="../slideLayouts/slideLayout163.xml"/><Relationship Id="rId43" Type="http://schemas.openxmlformats.org/officeDocument/2006/relationships/theme" Target="../theme/theme7.xml"/><Relationship Id="rId48" Type="http://schemas.openxmlformats.org/officeDocument/2006/relationships/image" Target="../media/image16.svg"/><Relationship Id="rId8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131.xml"/><Relationship Id="rId12" Type="http://schemas.openxmlformats.org/officeDocument/2006/relationships/slideLayout" Target="../slideLayouts/slideLayout140.xml"/><Relationship Id="rId17" Type="http://schemas.openxmlformats.org/officeDocument/2006/relationships/slideLayout" Target="../slideLayouts/slideLayout145.xml"/><Relationship Id="rId25" Type="http://schemas.openxmlformats.org/officeDocument/2006/relationships/slideLayout" Target="../slideLayouts/slideLayout153.xml"/><Relationship Id="rId33" Type="http://schemas.openxmlformats.org/officeDocument/2006/relationships/slideLayout" Target="../slideLayouts/slideLayout161.xml"/><Relationship Id="rId38" Type="http://schemas.openxmlformats.org/officeDocument/2006/relationships/slideLayout" Target="../slideLayouts/slideLayout166.xml"/><Relationship Id="rId46" Type="http://schemas.openxmlformats.org/officeDocument/2006/relationships/image" Target="../media/image14.emf"/><Relationship Id="rId20" Type="http://schemas.openxmlformats.org/officeDocument/2006/relationships/slideLayout" Target="../slideLayouts/slideLayout148.xml"/><Relationship Id="rId41" Type="http://schemas.openxmlformats.org/officeDocument/2006/relationships/slideLayout" Target="../slideLayouts/slideLayout16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8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173.xml"/><Relationship Id="rId7" Type="http://schemas.openxmlformats.org/officeDocument/2006/relationships/slideLayout" Target="../slideLayouts/slideLayout177.xml"/><Relationship Id="rId12" Type="http://schemas.openxmlformats.org/officeDocument/2006/relationships/slideLayout" Target="../slideLayouts/slideLayout182.xml"/><Relationship Id="rId2" Type="http://schemas.openxmlformats.org/officeDocument/2006/relationships/slideLayout" Target="../slideLayouts/slideLayout172.xml"/><Relationship Id="rId1" Type="http://schemas.openxmlformats.org/officeDocument/2006/relationships/slideLayout" Target="../slideLayouts/slideLayout171.xml"/><Relationship Id="rId6" Type="http://schemas.openxmlformats.org/officeDocument/2006/relationships/slideLayout" Target="../slideLayouts/slideLayout176.xml"/><Relationship Id="rId11" Type="http://schemas.openxmlformats.org/officeDocument/2006/relationships/slideLayout" Target="../slideLayouts/slideLayout181.xml"/><Relationship Id="rId5" Type="http://schemas.openxmlformats.org/officeDocument/2006/relationships/slideLayout" Target="../slideLayouts/slideLayout175.xml"/><Relationship Id="rId10" Type="http://schemas.openxmlformats.org/officeDocument/2006/relationships/slideLayout" Target="../slideLayouts/slideLayout180.xml"/><Relationship Id="rId4" Type="http://schemas.openxmlformats.org/officeDocument/2006/relationships/slideLayout" Target="../slideLayouts/slideLayout174.xml"/><Relationship Id="rId9" Type="http://schemas.openxmlformats.org/officeDocument/2006/relationships/slideLayout" Target="../slideLayouts/slideLayout17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99797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99797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2323" y="6394302"/>
            <a:ext cx="860275" cy="234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278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</p:sldLayoutIdLst>
  <p:hf sldNum="0" hdr="0" ftr="0" dt="0"/>
  <p:txStyles>
    <p:titleStyle>
      <a:lvl1pPr algn="l" defTabSz="1219170" rtl="0" eaLnBrk="1" latinLnBrk="0" hangingPunct="1">
        <a:spcBef>
          <a:spcPct val="0"/>
        </a:spcBef>
        <a:buNone/>
        <a:defRPr sz="32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2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accent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accent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99797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99797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2323" y="6394302"/>
            <a:ext cx="860275" cy="234441"/>
          </a:xfrm>
          <a:prstGeom prst="rect">
            <a:avLst/>
          </a:prstGeom>
        </p:spPr>
      </p:pic>
      <p:pic>
        <p:nvPicPr>
          <p:cNvPr id="5" name="Bilde 4">
            <a:extLst>
              <a:ext uri="{FF2B5EF4-FFF2-40B4-BE49-F238E27FC236}">
                <a16:creationId xmlns:a16="http://schemas.microsoft.com/office/drawing/2014/main" id="{0D999084-0A0E-4BAA-8B67-A5720C0F5838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509821" y="6302076"/>
            <a:ext cx="1042922" cy="345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5173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86" r:id="rId5"/>
    <p:sldLayoutId id="2147483677" r:id="rId6"/>
    <p:sldLayoutId id="2147483721" r:id="rId7"/>
    <p:sldLayoutId id="2147483726" r:id="rId8"/>
    <p:sldLayoutId id="2147483723" r:id="rId9"/>
    <p:sldLayoutId id="2147483724" r:id="rId10"/>
    <p:sldLayoutId id="2147483701" r:id="rId11"/>
  </p:sldLayoutIdLst>
  <p:hf sldNum="0" hdr="0" ftr="0" dt="0"/>
  <p:txStyles>
    <p:titleStyle>
      <a:lvl1pPr algn="l" defTabSz="1219170" rtl="0" eaLnBrk="1" latinLnBrk="0" hangingPunct="1">
        <a:spcBef>
          <a:spcPct val="0"/>
        </a:spcBef>
        <a:buNone/>
        <a:defRPr sz="32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2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accent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accent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99797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99797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2323" y="6394302"/>
            <a:ext cx="860275" cy="234441"/>
          </a:xfrm>
          <a:prstGeom prst="rect">
            <a:avLst/>
          </a:prstGeom>
        </p:spPr>
      </p:pic>
      <p:pic>
        <p:nvPicPr>
          <p:cNvPr id="7" name="Bilde 6" descr="Et bilde som inneholder tekst&#10;&#10;Automatisk generert beskrivelse">
            <a:extLst>
              <a:ext uri="{FF2B5EF4-FFF2-40B4-BE49-F238E27FC236}">
                <a16:creationId xmlns:a16="http://schemas.microsoft.com/office/drawing/2014/main" id="{F8992365-A67D-4A52-828B-3110EA4BF600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8438" y="6324230"/>
            <a:ext cx="403200" cy="384663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4F226C36-817F-4E88-9954-54FF170D4ABD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509821" y="6302076"/>
            <a:ext cx="1042922" cy="345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1619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7" r:id="rId7"/>
    <p:sldLayoutId id="2147483718" r:id="rId8"/>
    <p:sldLayoutId id="2147483720" r:id="rId9"/>
    <p:sldLayoutId id="2147483716" r:id="rId10"/>
  </p:sldLayoutIdLst>
  <p:hf sldNum="0" hdr="0" dt="0"/>
  <p:txStyles>
    <p:titleStyle>
      <a:lvl1pPr algn="l" defTabSz="1219170" rtl="0" eaLnBrk="1" latinLnBrk="0" hangingPunct="1">
        <a:spcBef>
          <a:spcPct val="0"/>
        </a:spcBef>
        <a:buNone/>
        <a:defRPr sz="32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2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accent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accent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E2063291-7A89-43D9-B21E-554AF673B4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AE374D8F-FA9F-487F-B38B-E267B40284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5F2F991A-2C55-4DD0-9ED6-A9B354FA16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25465FDD-4B52-4442-803E-F602F41A1B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fgæphjrwptæh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FF411C57-2B18-44B8-A565-A312C0334A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69B23D-4A4B-4ADD-A2D7-D5A72802A6B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4983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786B1746-E8EB-4854-A725-37B603562A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1287458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530" imgH="529" progId="TCLayout.ActiveDocument.1">
                  <p:embed/>
                </p:oleObj>
              </mc:Choice>
              <mc:Fallback>
                <p:oleObj name="think-cell Slide" r:id="rId45" imgW="530" imgH="529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786B1746-E8EB-4854-A725-37B603562A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3F5BD145-1423-D747-A3B1-0A49BEB4BC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631507"/>
            <a:ext cx="10757628" cy="1019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65BA2E8-E488-1141-8C19-E31233CE00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0000" y="1932563"/>
            <a:ext cx="10763250" cy="4205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66D7521-9772-4B44-936E-3FF44A75FC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112500" y="6419779"/>
            <a:ext cx="593500" cy="18710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700" b="0" i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F733BDE-E94C-E143-828D-BEDA8E684E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9997" y="6419782"/>
            <a:ext cx="10389328" cy="18710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b="0" i="0">
                <a:solidFill>
                  <a:schemeClr val="tx2"/>
                </a:solidFill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6F1BF23-06F1-434E-884E-B15D15D939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6000" y="6419781"/>
            <a:ext cx="252000" cy="18710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700" b="0" i="0">
                <a:solidFill>
                  <a:schemeClr val="tx2"/>
                </a:solidFill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8D853276-62F8-9E47-9D45-1F718991D418}"/>
              </a:ext>
            </a:extLst>
          </p:cNvPr>
          <p:cNvPicPr>
            <a:picLocks noChangeAspect="1"/>
          </p:cNvPicPr>
          <p:nvPr/>
        </p:nvPicPr>
        <p:blipFill>
          <a:blip r:embed="rId4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11583005" y="179998"/>
            <a:ext cx="428995" cy="428995"/>
          </a:xfrm>
          <a:prstGeom prst="rect">
            <a:avLst/>
          </a:prstGeom>
        </p:spPr>
      </p:pic>
      <p:sp>
        <p:nvSpPr>
          <p:cNvPr id="19" name="Rektangel 18" hidden="1">
            <a:extLst>
              <a:ext uri="{FF2B5EF4-FFF2-40B4-BE49-F238E27FC236}">
                <a16:creationId xmlns:a16="http://schemas.microsoft.com/office/drawing/2014/main" id="{84F8643A-F634-C641-AECB-3F8F737CC294}"/>
              </a:ext>
            </a:extLst>
          </p:cNvPr>
          <p:cNvSpPr/>
          <p:nvPr/>
        </p:nvSpPr>
        <p:spPr>
          <a:xfrm>
            <a:off x="10644998" y="719998"/>
            <a:ext cx="719997" cy="7199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b="0" i="0">
              <a:latin typeface="Myriad Pro" panose="020B0503030403020204" pitchFamily="34" charset="0"/>
            </a:endParaRP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6758B17D-EEE9-4448-B27B-23DB2E47D6E4}"/>
              </a:ext>
            </a:extLst>
          </p:cNvPr>
          <p:cNvSpPr txBox="1"/>
          <p:nvPr userDrawn="1"/>
        </p:nvSpPr>
        <p:spPr>
          <a:xfrm>
            <a:off x="719998" y="-340468"/>
            <a:ext cx="1668818" cy="180425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lang="nb-NO" sz="700" noProof="1">
                <a:latin typeface="Arial" panose="020B0604020202020204" pitchFamily="34" charset="0"/>
                <a:cs typeface="Arial" panose="020B0604020202020204" pitchFamily="34" charset="0"/>
              </a:rPr>
              <a:t>AF Gruppen</a:t>
            </a:r>
          </a:p>
        </p:txBody>
      </p: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9FA438CF-23D6-AC4E-AEC8-F95DF9E2AA60}"/>
              </a:ext>
            </a:extLst>
          </p:cNvPr>
          <p:cNvGrpSpPr/>
          <p:nvPr userDrawn="1"/>
        </p:nvGrpSpPr>
        <p:grpSpPr>
          <a:xfrm>
            <a:off x="2442040" y="-335454"/>
            <a:ext cx="1043680" cy="190800"/>
            <a:chOff x="2442040" y="-335454"/>
            <a:chExt cx="1043680" cy="190800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35D8D4B1-77C9-FE45-98F0-1A639B1A733B}"/>
                </a:ext>
              </a:extLst>
            </p:cNvPr>
            <p:cNvSpPr/>
            <p:nvPr/>
          </p:nvSpPr>
          <p:spPr>
            <a:xfrm>
              <a:off x="2442040" y="-335454"/>
              <a:ext cx="1043680" cy="19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grpSp>
          <p:nvGrpSpPr>
            <p:cNvPr id="10" name="Gruppe 9">
              <a:extLst>
                <a:ext uri="{FF2B5EF4-FFF2-40B4-BE49-F238E27FC236}">
                  <a16:creationId xmlns:a16="http://schemas.microsoft.com/office/drawing/2014/main" id="{E87C3FFE-F81B-B449-8AD2-B30FAC63777C}"/>
                </a:ext>
              </a:extLst>
            </p:cNvPr>
            <p:cNvGrpSpPr/>
            <p:nvPr/>
          </p:nvGrpSpPr>
          <p:grpSpPr>
            <a:xfrm>
              <a:off x="2506820" y="-296561"/>
              <a:ext cx="914120" cy="108000"/>
              <a:chOff x="2442040" y="-296561"/>
              <a:chExt cx="914120" cy="108000"/>
            </a:xfrm>
          </p:grpSpPr>
          <p:sp>
            <p:nvSpPr>
              <p:cNvPr id="13" name="Rektangel 12">
                <a:extLst>
                  <a:ext uri="{FF2B5EF4-FFF2-40B4-BE49-F238E27FC236}">
                    <a16:creationId xmlns:a16="http://schemas.microsoft.com/office/drawing/2014/main" id="{A7BCAAA8-C27D-0449-ADB2-1217F5F3D5D2}"/>
                  </a:ext>
                </a:extLst>
              </p:cNvPr>
              <p:cNvSpPr/>
              <p:nvPr/>
            </p:nvSpPr>
            <p:spPr>
              <a:xfrm>
                <a:off x="2442040" y="-296561"/>
                <a:ext cx="108000" cy="108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" name="Rektangel 13">
                <a:extLst>
                  <a:ext uri="{FF2B5EF4-FFF2-40B4-BE49-F238E27FC236}">
                    <a16:creationId xmlns:a16="http://schemas.microsoft.com/office/drawing/2014/main" id="{6B4F1E6F-952D-6547-8E31-8FABCFD05C3F}"/>
                  </a:ext>
                </a:extLst>
              </p:cNvPr>
              <p:cNvSpPr/>
              <p:nvPr/>
            </p:nvSpPr>
            <p:spPr>
              <a:xfrm>
                <a:off x="2764488" y="-296561"/>
                <a:ext cx="108000" cy="108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" name="Rektangel 14">
                <a:extLst>
                  <a:ext uri="{FF2B5EF4-FFF2-40B4-BE49-F238E27FC236}">
                    <a16:creationId xmlns:a16="http://schemas.microsoft.com/office/drawing/2014/main" id="{D8FDCC49-E616-6D43-AAF8-A0BEDB841DDB}"/>
                  </a:ext>
                </a:extLst>
              </p:cNvPr>
              <p:cNvSpPr/>
              <p:nvPr/>
            </p:nvSpPr>
            <p:spPr>
              <a:xfrm>
                <a:off x="3248160" y="-296561"/>
                <a:ext cx="108000" cy="108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" name="Rektangel 15">
                <a:extLst>
                  <a:ext uri="{FF2B5EF4-FFF2-40B4-BE49-F238E27FC236}">
                    <a16:creationId xmlns:a16="http://schemas.microsoft.com/office/drawing/2014/main" id="{BFC8C7F4-682C-0244-9233-0DB3AAB55DB3}"/>
                  </a:ext>
                </a:extLst>
              </p:cNvPr>
              <p:cNvSpPr/>
              <p:nvPr/>
            </p:nvSpPr>
            <p:spPr>
              <a:xfrm>
                <a:off x="2603264" y="-296561"/>
                <a:ext cx="108000" cy="1080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" name="Rektangel 16">
                <a:extLst>
                  <a:ext uri="{FF2B5EF4-FFF2-40B4-BE49-F238E27FC236}">
                    <a16:creationId xmlns:a16="http://schemas.microsoft.com/office/drawing/2014/main" id="{8331FA3E-3EBF-7C4E-9CDC-623852C8300E}"/>
                  </a:ext>
                </a:extLst>
              </p:cNvPr>
              <p:cNvSpPr/>
              <p:nvPr/>
            </p:nvSpPr>
            <p:spPr>
              <a:xfrm>
                <a:off x="2925712" y="-296561"/>
                <a:ext cx="108000" cy="108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" name="Rektangel 17">
                <a:extLst>
                  <a:ext uri="{FF2B5EF4-FFF2-40B4-BE49-F238E27FC236}">
                    <a16:creationId xmlns:a16="http://schemas.microsoft.com/office/drawing/2014/main" id="{76E5D89D-4881-ED4C-A268-E6871C318CE5}"/>
                  </a:ext>
                </a:extLst>
              </p:cNvPr>
              <p:cNvSpPr/>
              <p:nvPr/>
            </p:nvSpPr>
            <p:spPr>
              <a:xfrm>
                <a:off x="3086936" y="-296561"/>
                <a:ext cx="108000" cy="108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97558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  <p:sldLayoutId id="2147483771" r:id="rId32"/>
    <p:sldLayoutId id="2147483772" r:id="rId33"/>
    <p:sldLayoutId id="2147483773" r:id="rId34"/>
    <p:sldLayoutId id="2147483774" r:id="rId35"/>
    <p:sldLayoutId id="2147483775" r:id="rId36"/>
    <p:sldLayoutId id="2147483776" r:id="rId37"/>
    <p:sldLayoutId id="2147483777" r:id="rId38"/>
    <p:sldLayoutId id="2147483778" r:id="rId39"/>
    <p:sldLayoutId id="2147483779" r:id="rId40"/>
    <p:sldLayoutId id="2147483780" r:id="rId41"/>
    <p:sldLayoutId id="2147483781" r:id="rId4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34000" indent="-234000" algn="l" defTabSz="914400" rtl="0" eaLnBrk="1" latinLnBrk="0" hangingPunct="1">
        <a:lnSpc>
          <a:spcPct val="100000"/>
        </a:lnSpc>
        <a:spcBef>
          <a:spcPts val="1600"/>
        </a:spcBef>
        <a:buClr>
          <a:schemeClr val="accent1"/>
        </a:buClr>
        <a:buFont typeface="Wingdings" pitchFamily="2" charset="2"/>
        <a:buChar char="§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468000" indent="-234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702000" indent="-234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936000" indent="-234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170000" indent="-234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orient="horz" pos="2160">
          <p15:clr>
            <a:srgbClr val="F26B43"/>
          </p15:clr>
        </p15:guide>
        <p15:guide id="7" orient="horz" pos="1250">
          <p15:clr>
            <a:srgbClr val="F26B43"/>
          </p15:clr>
        </p15:guide>
        <p15:guide id="9" pos="453">
          <p15:clr>
            <a:srgbClr val="F26B43"/>
          </p15:clr>
        </p15:guide>
        <p15:guide id="10" pos="7230">
          <p15:clr>
            <a:srgbClr val="F26B43"/>
          </p15:clr>
        </p15:guide>
        <p15:guide id="12" orient="horz" pos="453">
          <p15:clr>
            <a:srgbClr val="F26B43"/>
          </p15:clr>
        </p15:guide>
        <p15:guide id="14" orient="horz" pos="3868">
          <p15:clr>
            <a:srgbClr val="F26B43"/>
          </p15:clr>
        </p15:guide>
        <p15:guide id="15" orient="horz" pos="121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786B1746-E8EB-4854-A725-37B603562A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1287458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530" imgH="529" progId="TCLayout.ActiveDocument.1">
                  <p:embed/>
                </p:oleObj>
              </mc:Choice>
              <mc:Fallback>
                <p:oleObj name="think-cell Slide" r:id="rId46" imgW="530" imgH="529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786B1746-E8EB-4854-A725-37B603562A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3F5BD145-1423-D747-A3B1-0A49BEB4BC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631507"/>
            <a:ext cx="10757628" cy="1019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65BA2E8-E488-1141-8C19-E31233CE00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0000" y="1932563"/>
            <a:ext cx="10763250" cy="4205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66D7521-9772-4B44-936E-3FF44A75FC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112500" y="6419779"/>
            <a:ext cx="593500" cy="18710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700" b="0" i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F733BDE-E94C-E143-828D-BEDA8E684E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9997" y="6419782"/>
            <a:ext cx="10389328" cy="18710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b="0" i="0">
                <a:solidFill>
                  <a:schemeClr val="tx2"/>
                </a:solidFill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6F1BF23-06F1-434E-884E-B15D15D939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6000" y="6419781"/>
            <a:ext cx="252000" cy="18710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700" b="0" i="0">
                <a:solidFill>
                  <a:schemeClr val="tx2"/>
                </a:solidFill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8D853276-62F8-9E47-9D45-1F718991D418}"/>
              </a:ext>
            </a:extLst>
          </p:cNvPr>
          <p:cNvPicPr>
            <a:picLocks noChangeAspect="1"/>
          </p:cNvPicPr>
          <p:nvPr/>
        </p:nvPicPr>
        <p:blipFill>
          <a:blip r:embed="rId4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1583005" y="179998"/>
            <a:ext cx="428995" cy="428995"/>
          </a:xfrm>
          <a:prstGeom prst="rect">
            <a:avLst/>
          </a:prstGeom>
        </p:spPr>
      </p:pic>
      <p:sp>
        <p:nvSpPr>
          <p:cNvPr id="19" name="Rektangel 18" hidden="1">
            <a:extLst>
              <a:ext uri="{FF2B5EF4-FFF2-40B4-BE49-F238E27FC236}">
                <a16:creationId xmlns:a16="http://schemas.microsoft.com/office/drawing/2014/main" id="{84F8643A-F634-C641-AECB-3F8F737CC294}"/>
              </a:ext>
            </a:extLst>
          </p:cNvPr>
          <p:cNvSpPr/>
          <p:nvPr/>
        </p:nvSpPr>
        <p:spPr>
          <a:xfrm>
            <a:off x="10644998" y="719998"/>
            <a:ext cx="719997" cy="7199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b="0" i="0">
              <a:latin typeface="Myriad Pro" panose="020B0503030403020204" pitchFamily="34" charset="0"/>
            </a:endParaRP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6758B17D-EEE9-4448-B27B-23DB2E47D6E4}"/>
              </a:ext>
            </a:extLst>
          </p:cNvPr>
          <p:cNvSpPr txBox="1"/>
          <p:nvPr userDrawn="1"/>
        </p:nvSpPr>
        <p:spPr>
          <a:xfrm>
            <a:off x="719998" y="-340468"/>
            <a:ext cx="1668818" cy="180425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lang="nb-NO" sz="700" noProof="1">
                <a:latin typeface="Arial" panose="020B0604020202020204" pitchFamily="34" charset="0"/>
                <a:cs typeface="Arial" panose="020B0604020202020204" pitchFamily="34" charset="0"/>
              </a:rPr>
              <a:t>AF Gruppen</a:t>
            </a:r>
          </a:p>
        </p:txBody>
      </p: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9FA438CF-23D6-AC4E-AEC8-F95DF9E2AA60}"/>
              </a:ext>
            </a:extLst>
          </p:cNvPr>
          <p:cNvGrpSpPr/>
          <p:nvPr userDrawn="1"/>
        </p:nvGrpSpPr>
        <p:grpSpPr>
          <a:xfrm>
            <a:off x="2442040" y="-335454"/>
            <a:ext cx="1043680" cy="190800"/>
            <a:chOff x="2442040" y="-335454"/>
            <a:chExt cx="1043680" cy="190800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35D8D4B1-77C9-FE45-98F0-1A639B1A733B}"/>
                </a:ext>
              </a:extLst>
            </p:cNvPr>
            <p:cNvSpPr/>
            <p:nvPr/>
          </p:nvSpPr>
          <p:spPr>
            <a:xfrm>
              <a:off x="2442040" y="-335454"/>
              <a:ext cx="1043680" cy="19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grpSp>
          <p:nvGrpSpPr>
            <p:cNvPr id="10" name="Gruppe 9">
              <a:extLst>
                <a:ext uri="{FF2B5EF4-FFF2-40B4-BE49-F238E27FC236}">
                  <a16:creationId xmlns:a16="http://schemas.microsoft.com/office/drawing/2014/main" id="{E87C3FFE-F81B-B449-8AD2-B30FAC63777C}"/>
                </a:ext>
              </a:extLst>
            </p:cNvPr>
            <p:cNvGrpSpPr/>
            <p:nvPr/>
          </p:nvGrpSpPr>
          <p:grpSpPr>
            <a:xfrm>
              <a:off x="2506820" y="-296561"/>
              <a:ext cx="914120" cy="108000"/>
              <a:chOff x="2442040" y="-296561"/>
              <a:chExt cx="914120" cy="108000"/>
            </a:xfrm>
          </p:grpSpPr>
          <p:sp>
            <p:nvSpPr>
              <p:cNvPr id="13" name="Rektangel 12">
                <a:extLst>
                  <a:ext uri="{FF2B5EF4-FFF2-40B4-BE49-F238E27FC236}">
                    <a16:creationId xmlns:a16="http://schemas.microsoft.com/office/drawing/2014/main" id="{A7BCAAA8-C27D-0449-ADB2-1217F5F3D5D2}"/>
                  </a:ext>
                </a:extLst>
              </p:cNvPr>
              <p:cNvSpPr/>
              <p:nvPr/>
            </p:nvSpPr>
            <p:spPr>
              <a:xfrm>
                <a:off x="2442040" y="-296561"/>
                <a:ext cx="108000" cy="108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" name="Rektangel 13">
                <a:extLst>
                  <a:ext uri="{FF2B5EF4-FFF2-40B4-BE49-F238E27FC236}">
                    <a16:creationId xmlns:a16="http://schemas.microsoft.com/office/drawing/2014/main" id="{6B4F1E6F-952D-6547-8E31-8FABCFD05C3F}"/>
                  </a:ext>
                </a:extLst>
              </p:cNvPr>
              <p:cNvSpPr/>
              <p:nvPr/>
            </p:nvSpPr>
            <p:spPr>
              <a:xfrm>
                <a:off x="2764488" y="-296561"/>
                <a:ext cx="108000" cy="108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" name="Rektangel 14">
                <a:extLst>
                  <a:ext uri="{FF2B5EF4-FFF2-40B4-BE49-F238E27FC236}">
                    <a16:creationId xmlns:a16="http://schemas.microsoft.com/office/drawing/2014/main" id="{D8FDCC49-E616-6D43-AAF8-A0BEDB841DDB}"/>
                  </a:ext>
                </a:extLst>
              </p:cNvPr>
              <p:cNvSpPr/>
              <p:nvPr/>
            </p:nvSpPr>
            <p:spPr>
              <a:xfrm>
                <a:off x="3248160" y="-296561"/>
                <a:ext cx="108000" cy="108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" name="Rektangel 15">
                <a:extLst>
                  <a:ext uri="{FF2B5EF4-FFF2-40B4-BE49-F238E27FC236}">
                    <a16:creationId xmlns:a16="http://schemas.microsoft.com/office/drawing/2014/main" id="{BFC8C7F4-682C-0244-9233-0DB3AAB55DB3}"/>
                  </a:ext>
                </a:extLst>
              </p:cNvPr>
              <p:cNvSpPr/>
              <p:nvPr/>
            </p:nvSpPr>
            <p:spPr>
              <a:xfrm>
                <a:off x="2603264" y="-296561"/>
                <a:ext cx="108000" cy="1080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" name="Rektangel 16">
                <a:extLst>
                  <a:ext uri="{FF2B5EF4-FFF2-40B4-BE49-F238E27FC236}">
                    <a16:creationId xmlns:a16="http://schemas.microsoft.com/office/drawing/2014/main" id="{8331FA3E-3EBF-7C4E-9CDC-623852C8300E}"/>
                  </a:ext>
                </a:extLst>
              </p:cNvPr>
              <p:cNvSpPr/>
              <p:nvPr/>
            </p:nvSpPr>
            <p:spPr>
              <a:xfrm>
                <a:off x="2925712" y="-296561"/>
                <a:ext cx="108000" cy="108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" name="Rektangel 17">
                <a:extLst>
                  <a:ext uri="{FF2B5EF4-FFF2-40B4-BE49-F238E27FC236}">
                    <a16:creationId xmlns:a16="http://schemas.microsoft.com/office/drawing/2014/main" id="{76E5D89D-4881-ED4C-A268-E6871C318CE5}"/>
                  </a:ext>
                </a:extLst>
              </p:cNvPr>
              <p:cNvSpPr/>
              <p:nvPr/>
            </p:nvSpPr>
            <p:spPr>
              <a:xfrm>
                <a:off x="3086936" y="-296561"/>
                <a:ext cx="108000" cy="108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26337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  <p:sldLayoutId id="2147483795" r:id="rId13"/>
    <p:sldLayoutId id="2147483796" r:id="rId14"/>
    <p:sldLayoutId id="2147483797" r:id="rId15"/>
    <p:sldLayoutId id="2147483798" r:id="rId16"/>
    <p:sldLayoutId id="2147483799" r:id="rId17"/>
    <p:sldLayoutId id="2147483800" r:id="rId18"/>
    <p:sldLayoutId id="2147483801" r:id="rId19"/>
    <p:sldLayoutId id="2147483802" r:id="rId20"/>
    <p:sldLayoutId id="2147483803" r:id="rId21"/>
    <p:sldLayoutId id="2147483804" r:id="rId22"/>
    <p:sldLayoutId id="2147483805" r:id="rId23"/>
    <p:sldLayoutId id="2147483806" r:id="rId24"/>
    <p:sldLayoutId id="2147483807" r:id="rId25"/>
    <p:sldLayoutId id="2147483808" r:id="rId26"/>
    <p:sldLayoutId id="2147483809" r:id="rId27"/>
    <p:sldLayoutId id="2147483810" r:id="rId28"/>
    <p:sldLayoutId id="2147483811" r:id="rId29"/>
    <p:sldLayoutId id="2147483812" r:id="rId30"/>
    <p:sldLayoutId id="2147483813" r:id="rId31"/>
    <p:sldLayoutId id="2147483814" r:id="rId32"/>
    <p:sldLayoutId id="2147483815" r:id="rId33"/>
    <p:sldLayoutId id="2147483816" r:id="rId34"/>
    <p:sldLayoutId id="2147483817" r:id="rId35"/>
    <p:sldLayoutId id="2147483818" r:id="rId36"/>
    <p:sldLayoutId id="2147483819" r:id="rId37"/>
    <p:sldLayoutId id="2147483820" r:id="rId38"/>
    <p:sldLayoutId id="2147483821" r:id="rId39"/>
    <p:sldLayoutId id="2147483822" r:id="rId40"/>
    <p:sldLayoutId id="2147483823" r:id="rId41"/>
    <p:sldLayoutId id="2147483824" r:id="rId42"/>
    <p:sldLayoutId id="2147483825" r:id="rId4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34000" indent="-234000" algn="l" defTabSz="914400" rtl="0" eaLnBrk="1" latinLnBrk="0" hangingPunct="1">
        <a:lnSpc>
          <a:spcPct val="100000"/>
        </a:lnSpc>
        <a:spcBef>
          <a:spcPts val="1600"/>
        </a:spcBef>
        <a:buClr>
          <a:schemeClr val="accent1"/>
        </a:buClr>
        <a:buFont typeface="Wingdings" pitchFamily="2" charset="2"/>
        <a:buChar char="§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468000" indent="-234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702000" indent="-234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936000" indent="-234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170000" indent="-234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orient="horz" pos="2160">
          <p15:clr>
            <a:srgbClr val="F26B43"/>
          </p15:clr>
        </p15:guide>
        <p15:guide id="7" orient="horz" pos="1250">
          <p15:clr>
            <a:srgbClr val="F26B43"/>
          </p15:clr>
        </p15:guide>
        <p15:guide id="9" pos="453">
          <p15:clr>
            <a:srgbClr val="F26B43"/>
          </p15:clr>
        </p15:guide>
        <p15:guide id="10" pos="7230">
          <p15:clr>
            <a:srgbClr val="F26B43"/>
          </p15:clr>
        </p15:guide>
        <p15:guide id="12" orient="horz" pos="453">
          <p15:clr>
            <a:srgbClr val="F26B43"/>
          </p15:clr>
        </p15:guide>
        <p15:guide id="14" orient="horz" pos="3868">
          <p15:clr>
            <a:srgbClr val="F26B43"/>
          </p15:clr>
        </p15:guide>
        <p15:guide id="15" orient="horz" pos="1216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786B1746-E8EB-4854-A725-37B603562A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1287458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530" imgH="529" progId="TCLayout.ActiveDocument.1">
                  <p:embed/>
                </p:oleObj>
              </mc:Choice>
              <mc:Fallback>
                <p:oleObj name="think-cell Slide" r:id="rId45" imgW="530" imgH="529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786B1746-E8EB-4854-A725-37B603562A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3F5BD145-1423-D747-A3B1-0A49BEB4BC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631507"/>
            <a:ext cx="10757628" cy="1019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65BA2E8-E488-1141-8C19-E31233CE00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0000" y="1932563"/>
            <a:ext cx="10763250" cy="4205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66D7521-9772-4B44-936E-3FF44A75FC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112500" y="6419779"/>
            <a:ext cx="593500" cy="18710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700" b="0" i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25.06.2021</a:t>
            </a:r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F733BDE-E94C-E143-828D-BEDA8E684E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9997" y="6419782"/>
            <a:ext cx="10389328" cy="18710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b="0" i="0">
                <a:solidFill>
                  <a:schemeClr val="tx2"/>
                </a:solidFill>
                <a:latin typeface="+mn-lt"/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6F1BF23-06F1-434E-884E-B15D15D939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6000" y="6419781"/>
            <a:ext cx="252000" cy="18710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700" b="0" i="0">
                <a:solidFill>
                  <a:schemeClr val="tx2"/>
                </a:solidFill>
                <a:latin typeface="+mn-lt"/>
              </a:defRPr>
            </a:lvl1pPr>
          </a:lstStyle>
          <a:p>
            <a:fld id="{6FC27C0E-69D6-2140-BAEC-594D114B0964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8D853276-62F8-9E47-9D45-1F718991D418}"/>
              </a:ext>
            </a:extLst>
          </p:cNvPr>
          <p:cNvPicPr>
            <a:picLocks noChangeAspect="1"/>
          </p:cNvPicPr>
          <p:nvPr/>
        </p:nvPicPr>
        <p:blipFill>
          <a:blip r:embed="rId4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11583005" y="179998"/>
            <a:ext cx="428995" cy="428995"/>
          </a:xfrm>
          <a:prstGeom prst="rect">
            <a:avLst/>
          </a:prstGeom>
        </p:spPr>
      </p:pic>
      <p:sp>
        <p:nvSpPr>
          <p:cNvPr id="19" name="Rektangel 18" hidden="1">
            <a:extLst>
              <a:ext uri="{FF2B5EF4-FFF2-40B4-BE49-F238E27FC236}">
                <a16:creationId xmlns:a16="http://schemas.microsoft.com/office/drawing/2014/main" id="{84F8643A-F634-C641-AECB-3F8F737CC294}"/>
              </a:ext>
            </a:extLst>
          </p:cNvPr>
          <p:cNvSpPr/>
          <p:nvPr/>
        </p:nvSpPr>
        <p:spPr>
          <a:xfrm>
            <a:off x="10644998" y="719998"/>
            <a:ext cx="719997" cy="7199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b="0" i="0">
              <a:latin typeface="Myriad Pro" panose="020B0503030403020204" pitchFamily="34" charset="0"/>
            </a:endParaRP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6758B17D-EEE9-4448-B27B-23DB2E47D6E4}"/>
              </a:ext>
            </a:extLst>
          </p:cNvPr>
          <p:cNvSpPr txBox="1"/>
          <p:nvPr userDrawn="1"/>
        </p:nvSpPr>
        <p:spPr>
          <a:xfrm>
            <a:off x="719998" y="-340468"/>
            <a:ext cx="1668818" cy="180425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lang="nb-NO" sz="700" noProof="1">
                <a:latin typeface="Arial" panose="020B0604020202020204" pitchFamily="34" charset="0"/>
                <a:cs typeface="Arial" panose="020B0604020202020204" pitchFamily="34" charset="0"/>
              </a:rPr>
              <a:t>AF Gruppen</a:t>
            </a:r>
          </a:p>
        </p:txBody>
      </p: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9FA438CF-23D6-AC4E-AEC8-F95DF9E2AA60}"/>
              </a:ext>
            </a:extLst>
          </p:cNvPr>
          <p:cNvGrpSpPr/>
          <p:nvPr userDrawn="1"/>
        </p:nvGrpSpPr>
        <p:grpSpPr>
          <a:xfrm>
            <a:off x="2442040" y="-335454"/>
            <a:ext cx="1043680" cy="190800"/>
            <a:chOff x="2442040" y="-335454"/>
            <a:chExt cx="1043680" cy="190800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35D8D4B1-77C9-FE45-98F0-1A639B1A733B}"/>
                </a:ext>
              </a:extLst>
            </p:cNvPr>
            <p:cNvSpPr/>
            <p:nvPr/>
          </p:nvSpPr>
          <p:spPr>
            <a:xfrm>
              <a:off x="2442040" y="-335454"/>
              <a:ext cx="1043680" cy="19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grpSp>
          <p:nvGrpSpPr>
            <p:cNvPr id="10" name="Gruppe 9">
              <a:extLst>
                <a:ext uri="{FF2B5EF4-FFF2-40B4-BE49-F238E27FC236}">
                  <a16:creationId xmlns:a16="http://schemas.microsoft.com/office/drawing/2014/main" id="{E87C3FFE-F81B-B449-8AD2-B30FAC63777C}"/>
                </a:ext>
              </a:extLst>
            </p:cNvPr>
            <p:cNvGrpSpPr/>
            <p:nvPr/>
          </p:nvGrpSpPr>
          <p:grpSpPr>
            <a:xfrm>
              <a:off x="2506820" y="-296561"/>
              <a:ext cx="914120" cy="108000"/>
              <a:chOff x="2442040" y="-296561"/>
              <a:chExt cx="914120" cy="108000"/>
            </a:xfrm>
          </p:grpSpPr>
          <p:sp>
            <p:nvSpPr>
              <p:cNvPr id="13" name="Rektangel 12">
                <a:extLst>
                  <a:ext uri="{FF2B5EF4-FFF2-40B4-BE49-F238E27FC236}">
                    <a16:creationId xmlns:a16="http://schemas.microsoft.com/office/drawing/2014/main" id="{A7BCAAA8-C27D-0449-ADB2-1217F5F3D5D2}"/>
                  </a:ext>
                </a:extLst>
              </p:cNvPr>
              <p:cNvSpPr/>
              <p:nvPr/>
            </p:nvSpPr>
            <p:spPr>
              <a:xfrm>
                <a:off x="2442040" y="-296561"/>
                <a:ext cx="108000" cy="108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" name="Rektangel 13">
                <a:extLst>
                  <a:ext uri="{FF2B5EF4-FFF2-40B4-BE49-F238E27FC236}">
                    <a16:creationId xmlns:a16="http://schemas.microsoft.com/office/drawing/2014/main" id="{6B4F1E6F-952D-6547-8E31-8FABCFD05C3F}"/>
                  </a:ext>
                </a:extLst>
              </p:cNvPr>
              <p:cNvSpPr/>
              <p:nvPr/>
            </p:nvSpPr>
            <p:spPr>
              <a:xfrm>
                <a:off x="2764488" y="-296561"/>
                <a:ext cx="108000" cy="108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" name="Rektangel 14">
                <a:extLst>
                  <a:ext uri="{FF2B5EF4-FFF2-40B4-BE49-F238E27FC236}">
                    <a16:creationId xmlns:a16="http://schemas.microsoft.com/office/drawing/2014/main" id="{D8FDCC49-E616-6D43-AAF8-A0BEDB841DDB}"/>
                  </a:ext>
                </a:extLst>
              </p:cNvPr>
              <p:cNvSpPr/>
              <p:nvPr/>
            </p:nvSpPr>
            <p:spPr>
              <a:xfrm>
                <a:off x="3248160" y="-296561"/>
                <a:ext cx="108000" cy="108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" name="Rektangel 15">
                <a:extLst>
                  <a:ext uri="{FF2B5EF4-FFF2-40B4-BE49-F238E27FC236}">
                    <a16:creationId xmlns:a16="http://schemas.microsoft.com/office/drawing/2014/main" id="{BFC8C7F4-682C-0244-9233-0DB3AAB55DB3}"/>
                  </a:ext>
                </a:extLst>
              </p:cNvPr>
              <p:cNvSpPr/>
              <p:nvPr/>
            </p:nvSpPr>
            <p:spPr>
              <a:xfrm>
                <a:off x="2603264" y="-296561"/>
                <a:ext cx="108000" cy="1080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" name="Rektangel 16">
                <a:extLst>
                  <a:ext uri="{FF2B5EF4-FFF2-40B4-BE49-F238E27FC236}">
                    <a16:creationId xmlns:a16="http://schemas.microsoft.com/office/drawing/2014/main" id="{8331FA3E-3EBF-7C4E-9CDC-623852C8300E}"/>
                  </a:ext>
                </a:extLst>
              </p:cNvPr>
              <p:cNvSpPr/>
              <p:nvPr/>
            </p:nvSpPr>
            <p:spPr>
              <a:xfrm>
                <a:off x="2925712" y="-296561"/>
                <a:ext cx="108000" cy="108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" name="Rektangel 17">
                <a:extLst>
                  <a:ext uri="{FF2B5EF4-FFF2-40B4-BE49-F238E27FC236}">
                    <a16:creationId xmlns:a16="http://schemas.microsoft.com/office/drawing/2014/main" id="{76E5D89D-4881-ED4C-A268-E6871C318CE5}"/>
                  </a:ext>
                </a:extLst>
              </p:cNvPr>
              <p:cNvSpPr/>
              <p:nvPr/>
            </p:nvSpPr>
            <p:spPr>
              <a:xfrm>
                <a:off x="3086936" y="-296561"/>
                <a:ext cx="108000" cy="108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23159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  <p:sldLayoutId id="2147483839" r:id="rId13"/>
    <p:sldLayoutId id="2147483840" r:id="rId14"/>
    <p:sldLayoutId id="2147483841" r:id="rId15"/>
    <p:sldLayoutId id="2147483842" r:id="rId16"/>
    <p:sldLayoutId id="2147483843" r:id="rId17"/>
    <p:sldLayoutId id="2147483844" r:id="rId18"/>
    <p:sldLayoutId id="2147483845" r:id="rId19"/>
    <p:sldLayoutId id="2147483846" r:id="rId20"/>
    <p:sldLayoutId id="2147483847" r:id="rId21"/>
    <p:sldLayoutId id="2147483848" r:id="rId22"/>
    <p:sldLayoutId id="2147483849" r:id="rId23"/>
    <p:sldLayoutId id="2147483850" r:id="rId24"/>
    <p:sldLayoutId id="2147483851" r:id="rId25"/>
    <p:sldLayoutId id="2147483852" r:id="rId26"/>
    <p:sldLayoutId id="2147483853" r:id="rId27"/>
    <p:sldLayoutId id="2147483854" r:id="rId28"/>
    <p:sldLayoutId id="2147483855" r:id="rId29"/>
    <p:sldLayoutId id="2147483856" r:id="rId30"/>
    <p:sldLayoutId id="2147483857" r:id="rId31"/>
    <p:sldLayoutId id="2147483858" r:id="rId32"/>
    <p:sldLayoutId id="2147483859" r:id="rId33"/>
    <p:sldLayoutId id="2147483860" r:id="rId34"/>
    <p:sldLayoutId id="2147483861" r:id="rId35"/>
    <p:sldLayoutId id="2147483862" r:id="rId36"/>
    <p:sldLayoutId id="2147483863" r:id="rId37"/>
    <p:sldLayoutId id="2147483864" r:id="rId38"/>
    <p:sldLayoutId id="2147483865" r:id="rId39"/>
    <p:sldLayoutId id="2147483866" r:id="rId40"/>
    <p:sldLayoutId id="2147483867" r:id="rId41"/>
    <p:sldLayoutId id="2147483868" r:id="rId4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34000" indent="-234000" algn="l" defTabSz="914400" rtl="0" eaLnBrk="1" latinLnBrk="0" hangingPunct="1">
        <a:lnSpc>
          <a:spcPct val="100000"/>
        </a:lnSpc>
        <a:spcBef>
          <a:spcPts val="1600"/>
        </a:spcBef>
        <a:buClr>
          <a:schemeClr val="accent1"/>
        </a:buClr>
        <a:buFont typeface="Wingdings" pitchFamily="2" charset="2"/>
        <a:buChar char="§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468000" indent="-234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702000" indent="-234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936000" indent="-234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170000" indent="-234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orient="horz" pos="2160">
          <p15:clr>
            <a:srgbClr val="F26B43"/>
          </p15:clr>
        </p15:guide>
        <p15:guide id="7" orient="horz" pos="1250">
          <p15:clr>
            <a:srgbClr val="F26B43"/>
          </p15:clr>
        </p15:guide>
        <p15:guide id="9" pos="453">
          <p15:clr>
            <a:srgbClr val="F26B43"/>
          </p15:clr>
        </p15:guide>
        <p15:guide id="10" pos="7230">
          <p15:clr>
            <a:srgbClr val="F26B43"/>
          </p15:clr>
        </p15:guide>
        <p15:guide id="12" orient="horz" pos="453">
          <p15:clr>
            <a:srgbClr val="F26B43"/>
          </p15:clr>
        </p15:guide>
        <p15:guide id="14" orient="horz" pos="3868">
          <p15:clr>
            <a:srgbClr val="F26B43"/>
          </p15:clr>
        </p15:guide>
        <p15:guide id="15" orient="horz" pos="1216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3722B59A-50DD-4AE2-AB50-F410033A8B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614E0C45-B855-4C5C-BB7D-829256D6E9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988E628-EA75-43B4-A080-DB1EA749ED6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ECB669-99CD-486C-B059-2700A68F9915}" type="datetimeFigureOut">
              <a:rPr lang="nb-NO" smtClean="0"/>
              <a:t>10.05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0F2D0D5-5E76-4A79-8892-15F4EEF752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76E149F-8F63-4C94-9CED-018F7E835A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BAC018-2664-4239-9308-CBB30768A2F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50615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1" r:id="rId2"/>
    <p:sldLayoutId id="2147483872" r:id="rId3"/>
    <p:sldLayoutId id="2147483873" r:id="rId4"/>
    <p:sldLayoutId id="2147483874" r:id="rId5"/>
    <p:sldLayoutId id="2147483875" r:id="rId6"/>
    <p:sldLayoutId id="2147483876" r:id="rId7"/>
    <p:sldLayoutId id="2147483877" r:id="rId8"/>
    <p:sldLayoutId id="2147483878" r:id="rId9"/>
    <p:sldLayoutId id="2147483879" r:id="rId10"/>
    <p:sldLayoutId id="2147483880" r:id="rId11"/>
    <p:sldLayoutId id="214748388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oleObject" Target="../embeddings/oleObject7.bin"/><Relationship Id="rId7" Type="http://schemas.openxmlformats.org/officeDocument/2006/relationships/image" Target="../media/image29.emf"/><Relationship Id="rId2" Type="http://schemas.openxmlformats.org/officeDocument/2006/relationships/slideLayout" Target="../slideLayouts/slideLayout126.xml"/><Relationship Id="rId1" Type="http://schemas.openxmlformats.org/officeDocument/2006/relationships/tags" Target="../tags/tag7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4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oleObject" Target="../embeddings/oleObject8.bin"/><Relationship Id="rId7" Type="http://schemas.openxmlformats.org/officeDocument/2006/relationships/image" Target="../media/image32.jpeg"/><Relationship Id="rId2" Type="http://schemas.openxmlformats.org/officeDocument/2006/relationships/slideLayout" Target="../slideLayouts/slideLayout128.xml"/><Relationship Id="rId1" Type="http://schemas.openxmlformats.org/officeDocument/2006/relationships/tags" Target="../tags/tag8.xml"/><Relationship Id="rId6" Type="http://schemas.openxmlformats.org/officeDocument/2006/relationships/image" Target="../media/image31.jpeg"/><Relationship Id="rId11" Type="http://schemas.openxmlformats.org/officeDocument/2006/relationships/image" Target="../media/image36.jpeg"/><Relationship Id="rId5" Type="http://schemas.openxmlformats.org/officeDocument/2006/relationships/image" Target="../media/image30.jpeg"/><Relationship Id="rId10" Type="http://schemas.openxmlformats.org/officeDocument/2006/relationships/image" Target="../media/image35.jpeg"/><Relationship Id="rId4" Type="http://schemas.openxmlformats.org/officeDocument/2006/relationships/image" Target="../media/image14.emf"/><Relationship Id="rId9" Type="http://schemas.openxmlformats.org/officeDocument/2006/relationships/image" Target="../media/image34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emf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4.emf"/><Relationship Id="rId2" Type="http://schemas.openxmlformats.org/officeDocument/2006/relationships/slideLayout" Target="../slideLayouts/slideLayout117.xml"/><Relationship Id="rId1" Type="http://schemas.openxmlformats.org/officeDocument/2006/relationships/tags" Target="../tags/tag9.xml"/><Relationship Id="rId6" Type="http://schemas.openxmlformats.org/officeDocument/2006/relationships/oleObject" Target="../embeddings/oleObject9.bin"/><Relationship Id="rId5" Type="http://schemas.openxmlformats.org/officeDocument/2006/relationships/chart" Target="../charts/chart4.xml"/><Relationship Id="rId4" Type="http://schemas.openxmlformats.org/officeDocument/2006/relationships/image" Target="../media/image37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3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7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47.sv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hyperlink" Target="https://avinor.no/ny-flyplass-mo-i-rana/" TargetMode="External"/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avinor.no/ny-flyplass-mo-i-rana/kontaktinformasjon/" TargetMode="External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72.xml"/><Relationship Id="rId1" Type="http://schemas.openxmlformats.org/officeDocument/2006/relationships/tags" Target="../tags/tag6.xml"/><Relationship Id="rId5" Type="http://schemas.openxmlformats.org/officeDocument/2006/relationships/image" Target="../media/image28.jpeg"/><Relationship Id="rId4" Type="http://schemas.openxmlformats.org/officeDocument/2006/relationships/image" Target="../media/image1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C0611B35-A83E-4639-A7B9-3C6D7B20CD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sv-SE" dirty="0">
                <a:solidFill>
                  <a:srgbClr val="84236B"/>
                </a:solidFill>
                <a:latin typeface="Arial"/>
                <a:ea typeface="+mj-ea"/>
                <a:cs typeface="Arial"/>
              </a:rPr>
              <a:t>10. mai 2023 – Informasjonsmøte for naboer</a:t>
            </a:r>
            <a:endParaRPr lang="nb-NO" dirty="0">
              <a:solidFill>
                <a:srgbClr val="84236B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D2FF21B6-FB4B-42F8-80C3-532519FA10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797" y="274639"/>
            <a:ext cx="10972800" cy="1143000"/>
          </a:xfrm>
        </p:spPr>
        <p:txBody>
          <a:bodyPr/>
          <a:lstStyle/>
          <a:p>
            <a:r>
              <a:rPr lang="sv-SE" sz="3200" b="1" dirty="0">
                <a:solidFill>
                  <a:srgbClr val="84236B"/>
                </a:solidFill>
                <a:latin typeface="Arial"/>
                <a:ea typeface="+mj-ea"/>
                <a:cs typeface="Arial"/>
              </a:rPr>
              <a:t>ENMR – Mo i Rana lufthavn, Fagerlia</a:t>
            </a:r>
            <a:endParaRPr lang="nb-NO" b="1" dirty="0"/>
          </a:p>
        </p:txBody>
      </p:sp>
    </p:spTree>
    <p:extLst>
      <p:ext uri="{BB962C8B-B14F-4D97-AF65-F5344CB8AC3E}">
        <p14:creationId xmlns:p14="http://schemas.microsoft.com/office/powerpoint/2010/main" val="33003411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5AD3F24-1C2B-4907-BDDA-1935CCE887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9" progId="TCLayout.ActiveDocument.1">
                  <p:embed/>
                </p:oleObj>
              </mc:Choice>
              <mc:Fallback>
                <p:oleObj name="think-cell Slide" r:id="rId3" imgW="530" imgH="52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5AD3F24-1C2B-4907-BDDA-1935CCE887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Plassholder for tekst 15">
            <a:extLst>
              <a:ext uri="{FF2B5EF4-FFF2-40B4-BE49-F238E27FC236}">
                <a16:creationId xmlns:a16="http://schemas.microsoft.com/office/drawing/2014/main" id="{711F1076-325C-4C3D-8207-E8B49AC48689}"/>
              </a:ext>
            </a:extLst>
          </p:cNvPr>
          <p:cNvSpPr txBox="1">
            <a:spLocks/>
          </p:cNvSpPr>
          <p:nvPr/>
        </p:nvSpPr>
        <p:spPr>
          <a:xfrm>
            <a:off x="6372227" y="2322727"/>
            <a:ext cx="1274927" cy="540287"/>
          </a:xfrm>
          <a:prstGeom prst="rect">
            <a:avLst/>
          </a:prstGeom>
        </p:spPr>
        <p:txBody>
          <a:bodyPr/>
          <a:lstStyle>
            <a:lvl1pPr marL="234000" indent="-234000" algn="l" defTabSz="914400" rtl="0" eaLnBrk="1" latinLnBrk="0" hangingPunct="1">
              <a:lnSpc>
                <a:spcPct val="10000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8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02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36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70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FECB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t>4,5 %</a:t>
            </a:r>
          </a:p>
        </p:txBody>
      </p:sp>
      <p:sp>
        <p:nvSpPr>
          <p:cNvPr id="85" name="Plassholder for tekst 17">
            <a:extLst>
              <a:ext uri="{FF2B5EF4-FFF2-40B4-BE49-F238E27FC236}">
                <a16:creationId xmlns:a16="http://schemas.microsoft.com/office/drawing/2014/main" id="{F52E344B-4253-4971-A8EB-A443B799ACF4}"/>
              </a:ext>
            </a:extLst>
          </p:cNvPr>
          <p:cNvSpPr txBox="1">
            <a:spLocks/>
          </p:cNvSpPr>
          <p:nvPr/>
        </p:nvSpPr>
        <p:spPr>
          <a:xfrm>
            <a:off x="5152450" y="1431347"/>
            <a:ext cx="1885819" cy="540288"/>
          </a:xfrm>
          <a:prstGeom prst="rect">
            <a:avLst/>
          </a:prstGeom>
        </p:spPr>
        <p:txBody>
          <a:bodyPr/>
          <a:lstStyle>
            <a:lvl1pPr marL="234000" indent="-234000" algn="l" defTabSz="914400" rtl="0" eaLnBrk="1" latinLnBrk="0" hangingPunct="1">
              <a:lnSpc>
                <a:spcPct val="10000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8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02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36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70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CB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t>31 205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Rubik"/>
              <a:ea typeface="+mn-ea"/>
              <a:cs typeface="+mn-cs"/>
            </a:endParaRPr>
          </a:p>
        </p:txBody>
      </p:sp>
      <p:sp>
        <p:nvSpPr>
          <p:cNvPr id="87" name="TekstSylinder 86">
            <a:extLst>
              <a:ext uri="{FF2B5EF4-FFF2-40B4-BE49-F238E27FC236}">
                <a16:creationId xmlns:a16="http://schemas.microsoft.com/office/drawing/2014/main" id="{553EFBAA-2630-498B-A538-4DEF50DC9DA6}"/>
              </a:ext>
            </a:extLst>
          </p:cNvPr>
          <p:cNvSpPr txBox="1"/>
          <p:nvPr/>
        </p:nvSpPr>
        <p:spPr>
          <a:xfrm>
            <a:off x="716759" y="1018950"/>
            <a:ext cx="33169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t>Om AF Gruppen</a:t>
            </a:r>
          </a:p>
        </p:txBody>
      </p:sp>
      <p:sp>
        <p:nvSpPr>
          <p:cNvPr id="88" name="Plassholder for tekst 15">
            <a:extLst>
              <a:ext uri="{FF2B5EF4-FFF2-40B4-BE49-F238E27FC236}">
                <a16:creationId xmlns:a16="http://schemas.microsoft.com/office/drawing/2014/main" id="{B3F13775-A02B-42F6-A4AD-3690BD183834}"/>
              </a:ext>
            </a:extLst>
          </p:cNvPr>
          <p:cNvSpPr txBox="1">
            <a:spLocks/>
          </p:cNvSpPr>
          <p:nvPr/>
        </p:nvSpPr>
        <p:spPr>
          <a:xfrm>
            <a:off x="4456657" y="2322727"/>
            <a:ext cx="1601167" cy="5402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None/>
              <a:defRPr sz="4800" kern="1200">
                <a:solidFill>
                  <a:schemeClr val="tx2"/>
                </a:solidFill>
                <a:latin typeface="Myriad Pro Light" panose="020B0403030403020204" pitchFamily="34" charset="0"/>
                <a:ea typeface="+mn-ea"/>
                <a:cs typeface="+mn-cs"/>
              </a:defRPr>
            </a:lvl1pPr>
            <a:lvl2pPr marL="2340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None/>
              <a:defRPr sz="1600" kern="1200">
                <a:solidFill>
                  <a:schemeClr val="tx2"/>
                </a:solidFill>
                <a:latin typeface="Myriad Pro Light" panose="020B0403030403020204" pitchFamily="34" charset="0"/>
                <a:ea typeface="+mn-ea"/>
                <a:cs typeface="+mn-cs"/>
              </a:defRPr>
            </a:lvl2pPr>
            <a:lvl3pPr marL="4680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None/>
              <a:defRPr sz="1600" kern="1200">
                <a:solidFill>
                  <a:schemeClr val="tx2"/>
                </a:solidFill>
                <a:latin typeface="Myriad Pro Light" panose="020B0403030403020204" pitchFamily="34" charset="0"/>
                <a:ea typeface="+mn-ea"/>
                <a:cs typeface="+mn-cs"/>
              </a:defRPr>
            </a:lvl3pPr>
            <a:lvl4pPr marL="7020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None/>
              <a:defRPr sz="1600" kern="1200">
                <a:solidFill>
                  <a:schemeClr val="tx2"/>
                </a:solidFill>
                <a:latin typeface="Myriad Pro Light" panose="020B0403030403020204" pitchFamily="34" charset="0"/>
                <a:ea typeface="+mn-ea"/>
                <a:cs typeface="+mn-cs"/>
              </a:defRPr>
            </a:lvl4pPr>
            <a:lvl5pPr marL="9360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None/>
              <a:defRPr sz="1600" kern="1200">
                <a:solidFill>
                  <a:schemeClr val="tx2"/>
                </a:solidFill>
                <a:latin typeface="Myriad Pro Light" panose="020B04030304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FECB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t>1 409</a:t>
            </a: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Rubik"/>
              <a:ea typeface="+mn-ea"/>
              <a:cs typeface="+mn-cs"/>
            </a:endParaRPr>
          </a:p>
        </p:txBody>
      </p:sp>
      <p:sp>
        <p:nvSpPr>
          <p:cNvPr id="90" name="TekstSylinder 89">
            <a:extLst>
              <a:ext uri="{FF2B5EF4-FFF2-40B4-BE49-F238E27FC236}">
                <a16:creationId xmlns:a16="http://schemas.microsoft.com/office/drawing/2014/main" id="{93A94A97-AB46-4EDF-9E6B-E9572B5687F8}"/>
              </a:ext>
            </a:extLst>
          </p:cNvPr>
          <p:cNvSpPr txBox="1"/>
          <p:nvPr/>
        </p:nvSpPr>
        <p:spPr>
          <a:xfrm>
            <a:off x="8125830" y="1018950"/>
            <a:ext cx="33461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t>H1-verdi</a:t>
            </a:r>
            <a:endParaRPr kumimoji="0" lang="nb-NO" sz="1800" b="0" i="0" u="none" strike="noStrike" kern="1200" cap="none" spc="0" normalizeH="0" baseline="0" noProof="0" err="1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Rubik"/>
              <a:ea typeface="+mn-ea"/>
              <a:cs typeface="+mn-cs"/>
            </a:endParaRPr>
          </a:p>
        </p:txBody>
      </p:sp>
      <p:cxnSp>
        <p:nvCxnSpPr>
          <p:cNvPr id="91" name="Rett linje 90">
            <a:extLst>
              <a:ext uri="{FF2B5EF4-FFF2-40B4-BE49-F238E27FC236}">
                <a16:creationId xmlns:a16="http://schemas.microsoft.com/office/drawing/2014/main" id="{7741025D-FE59-494A-9ED2-85F53EFF74A3}"/>
              </a:ext>
            </a:extLst>
          </p:cNvPr>
          <p:cNvCxnSpPr>
            <a:cxnSpLocks/>
          </p:cNvCxnSpPr>
          <p:nvPr/>
        </p:nvCxnSpPr>
        <p:spPr>
          <a:xfrm>
            <a:off x="4037454" y="1300188"/>
            <a:ext cx="0" cy="198000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Rett linje 92">
            <a:extLst>
              <a:ext uri="{FF2B5EF4-FFF2-40B4-BE49-F238E27FC236}">
                <a16:creationId xmlns:a16="http://schemas.microsoft.com/office/drawing/2014/main" id="{3A9C0345-F5F7-456C-8FDF-501D1436A6C2}"/>
              </a:ext>
            </a:extLst>
          </p:cNvPr>
          <p:cNvCxnSpPr>
            <a:cxnSpLocks/>
          </p:cNvCxnSpPr>
          <p:nvPr/>
        </p:nvCxnSpPr>
        <p:spPr>
          <a:xfrm>
            <a:off x="867383" y="3592526"/>
            <a:ext cx="2914042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kstSylinder 93">
            <a:extLst>
              <a:ext uri="{FF2B5EF4-FFF2-40B4-BE49-F238E27FC236}">
                <a16:creationId xmlns:a16="http://schemas.microsoft.com/office/drawing/2014/main" id="{3D3A7726-7483-423C-97A7-2A93A912A4FC}"/>
              </a:ext>
            </a:extLst>
          </p:cNvPr>
          <p:cNvSpPr txBox="1"/>
          <p:nvPr/>
        </p:nvSpPr>
        <p:spPr>
          <a:xfrm>
            <a:off x="5267221" y="1982976"/>
            <a:ext cx="160116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CB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t>Omsetning (MNOK)</a:t>
            </a:r>
          </a:p>
        </p:txBody>
      </p:sp>
      <p:sp>
        <p:nvSpPr>
          <p:cNvPr id="95" name="TekstSylinder 94">
            <a:extLst>
              <a:ext uri="{FF2B5EF4-FFF2-40B4-BE49-F238E27FC236}">
                <a16:creationId xmlns:a16="http://schemas.microsoft.com/office/drawing/2014/main" id="{68485BB5-66DF-4190-B8E3-67DF041A35FA}"/>
              </a:ext>
            </a:extLst>
          </p:cNvPr>
          <p:cNvSpPr txBox="1"/>
          <p:nvPr/>
        </p:nvSpPr>
        <p:spPr>
          <a:xfrm>
            <a:off x="4456658" y="2872867"/>
            <a:ext cx="158796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CB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t>Driftsresultat (MNOK)*</a:t>
            </a:r>
          </a:p>
        </p:txBody>
      </p:sp>
      <p:sp>
        <p:nvSpPr>
          <p:cNvPr id="96" name="TekstSylinder 95">
            <a:extLst>
              <a:ext uri="{FF2B5EF4-FFF2-40B4-BE49-F238E27FC236}">
                <a16:creationId xmlns:a16="http://schemas.microsoft.com/office/drawing/2014/main" id="{702FBD06-EFB9-494C-BDBC-1B90DFB60451}"/>
              </a:ext>
            </a:extLst>
          </p:cNvPr>
          <p:cNvSpPr txBox="1"/>
          <p:nvPr/>
        </p:nvSpPr>
        <p:spPr>
          <a:xfrm>
            <a:off x="6426870" y="2872867"/>
            <a:ext cx="117200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CB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t>Driftsmargin</a:t>
            </a:r>
          </a:p>
        </p:txBody>
      </p:sp>
      <p:cxnSp>
        <p:nvCxnSpPr>
          <p:cNvPr id="97" name="Rett linje 96">
            <a:extLst>
              <a:ext uri="{FF2B5EF4-FFF2-40B4-BE49-F238E27FC236}">
                <a16:creationId xmlns:a16="http://schemas.microsoft.com/office/drawing/2014/main" id="{210A2D42-3D3B-4739-B769-E2005C222FC0}"/>
              </a:ext>
            </a:extLst>
          </p:cNvPr>
          <p:cNvCxnSpPr>
            <a:cxnSpLocks/>
          </p:cNvCxnSpPr>
          <p:nvPr/>
        </p:nvCxnSpPr>
        <p:spPr>
          <a:xfrm>
            <a:off x="8125830" y="1274788"/>
            <a:ext cx="0" cy="198000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Rett linje 97">
            <a:extLst>
              <a:ext uri="{FF2B5EF4-FFF2-40B4-BE49-F238E27FC236}">
                <a16:creationId xmlns:a16="http://schemas.microsoft.com/office/drawing/2014/main" id="{3BEF9729-14F6-426C-8861-A7EE505BBA8C}"/>
              </a:ext>
            </a:extLst>
          </p:cNvPr>
          <p:cNvCxnSpPr>
            <a:cxnSpLocks/>
          </p:cNvCxnSpPr>
          <p:nvPr/>
        </p:nvCxnSpPr>
        <p:spPr>
          <a:xfrm>
            <a:off x="4037454" y="3978405"/>
            <a:ext cx="0" cy="198000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Rett linje 98">
            <a:extLst>
              <a:ext uri="{FF2B5EF4-FFF2-40B4-BE49-F238E27FC236}">
                <a16:creationId xmlns:a16="http://schemas.microsoft.com/office/drawing/2014/main" id="{E65A536E-ACAC-439D-90F7-86FEBE44AF6B}"/>
              </a:ext>
            </a:extLst>
          </p:cNvPr>
          <p:cNvCxnSpPr>
            <a:cxnSpLocks/>
          </p:cNvCxnSpPr>
          <p:nvPr/>
        </p:nvCxnSpPr>
        <p:spPr>
          <a:xfrm>
            <a:off x="8125830" y="3978405"/>
            <a:ext cx="0" cy="198000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kstSylinder 99">
            <a:extLst>
              <a:ext uri="{FF2B5EF4-FFF2-40B4-BE49-F238E27FC236}">
                <a16:creationId xmlns:a16="http://schemas.microsoft.com/office/drawing/2014/main" id="{10D71B2E-9F57-4E25-A7BD-48A3229A3ACF}"/>
              </a:ext>
            </a:extLst>
          </p:cNvPr>
          <p:cNvSpPr txBox="1"/>
          <p:nvPr/>
        </p:nvSpPr>
        <p:spPr>
          <a:xfrm>
            <a:off x="4032119" y="1018950"/>
            <a:ext cx="408998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t>Resultat (2022)</a:t>
            </a:r>
          </a:p>
        </p:txBody>
      </p:sp>
      <p:graphicFrame>
        <p:nvGraphicFramePr>
          <p:cNvPr id="101" name="Plassholder for innhold 20">
            <a:extLst>
              <a:ext uri="{FF2B5EF4-FFF2-40B4-BE49-F238E27FC236}">
                <a16:creationId xmlns:a16="http://schemas.microsoft.com/office/drawing/2014/main" id="{E1E6DFF4-F18F-4BD2-A710-D2E9F199944D}"/>
              </a:ext>
            </a:extLst>
          </p:cNvPr>
          <p:cNvGraphicFramePr>
            <a:graphicFrameLocks/>
          </p:cNvGraphicFramePr>
          <p:nvPr/>
        </p:nvGraphicFramePr>
        <p:xfrm>
          <a:off x="8295713" y="1403235"/>
          <a:ext cx="2972902" cy="19686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3" name="TekstSylinder 102">
            <a:extLst>
              <a:ext uri="{FF2B5EF4-FFF2-40B4-BE49-F238E27FC236}">
                <a16:creationId xmlns:a16="http://schemas.microsoft.com/office/drawing/2014/main" id="{859DB4ED-FD1D-4C4A-8209-E2F55B8CE396}"/>
              </a:ext>
            </a:extLst>
          </p:cNvPr>
          <p:cNvSpPr txBox="1"/>
          <p:nvPr/>
        </p:nvSpPr>
        <p:spPr>
          <a:xfrm>
            <a:off x="8125830" y="3758606"/>
            <a:ext cx="33461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t>Geografi</a:t>
            </a:r>
            <a:endParaRPr kumimoji="0" lang="nb-NO" sz="1800" b="0" i="0" u="none" strike="noStrike" kern="1200" cap="none" spc="0" normalizeH="0" baseline="0" noProof="0" err="1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Rubik"/>
              <a:ea typeface="+mn-ea"/>
              <a:cs typeface="+mn-cs"/>
            </a:endParaRPr>
          </a:p>
        </p:txBody>
      </p:sp>
      <p:sp>
        <p:nvSpPr>
          <p:cNvPr id="104" name="TekstSylinder 103">
            <a:extLst>
              <a:ext uri="{FF2B5EF4-FFF2-40B4-BE49-F238E27FC236}">
                <a16:creationId xmlns:a16="http://schemas.microsoft.com/office/drawing/2014/main" id="{2E104F62-ADA1-4547-9CEB-AADE9B142892}"/>
              </a:ext>
            </a:extLst>
          </p:cNvPr>
          <p:cNvSpPr txBox="1"/>
          <p:nvPr/>
        </p:nvSpPr>
        <p:spPr>
          <a:xfrm>
            <a:off x="4032119" y="3758606"/>
            <a:ext cx="408998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t>Kursutvikling (AFG) siste 10 år</a:t>
            </a:r>
            <a:endParaRPr kumimoji="0" lang="nb-NO" sz="1800" b="0" i="0" u="none" strike="noStrike" kern="1200" cap="none" spc="0" normalizeH="0" baseline="0" noProof="0" err="1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Rubik"/>
              <a:ea typeface="+mn-ea"/>
              <a:cs typeface="+mn-cs"/>
            </a:endParaRPr>
          </a:p>
        </p:txBody>
      </p:sp>
      <p:cxnSp>
        <p:nvCxnSpPr>
          <p:cNvPr id="106" name="Rett linje 105">
            <a:extLst>
              <a:ext uri="{FF2B5EF4-FFF2-40B4-BE49-F238E27FC236}">
                <a16:creationId xmlns:a16="http://schemas.microsoft.com/office/drawing/2014/main" id="{4EC6EB14-C89D-4BE2-AAE2-279170E91C61}"/>
              </a:ext>
            </a:extLst>
          </p:cNvPr>
          <p:cNvCxnSpPr>
            <a:cxnSpLocks/>
          </p:cNvCxnSpPr>
          <p:nvPr/>
        </p:nvCxnSpPr>
        <p:spPr>
          <a:xfrm>
            <a:off x="4296383" y="3603652"/>
            <a:ext cx="3609367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Rett linje 106">
            <a:extLst>
              <a:ext uri="{FF2B5EF4-FFF2-40B4-BE49-F238E27FC236}">
                <a16:creationId xmlns:a16="http://schemas.microsoft.com/office/drawing/2014/main" id="{495F4FB1-4900-4B21-8D84-24F3DB10B35A}"/>
              </a:ext>
            </a:extLst>
          </p:cNvPr>
          <p:cNvCxnSpPr>
            <a:cxnSpLocks/>
          </p:cNvCxnSpPr>
          <p:nvPr/>
        </p:nvCxnSpPr>
        <p:spPr>
          <a:xfrm>
            <a:off x="8354573" y="3605253"/>
            <a:ext cx="2914042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3" name="Diagram 112">
            <a:extLst>
              <a:ext uri="{FF2B5EF4-FFF2-40B4-BE49-F238E27FC236}">
                <a16:creationId xmlns:a16="http://schemas.microsoft.com/office/drawing/2014/main" id="{3625478F-7F21-4E92-BBCD-206F2E2F398F}"/>
              </a:ext>
            </a:extLst>
          </p:cNvPr>
          <p:cNvGraphicFramePr/>
          <p:nvPr/>
        </p:nvGraphicFramePr>
        <p:xfrm>
          <a:off x="4258283" y="4066383"/>
          <a:ext cx="3609360" cy="22105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5" name="Plassholder for tekst 5">
            <a:extLst>
              <a:ext uri="{FF2B5EF4-FFF2-40B4-BE49-F238E27FC236}">
                <a16:creationId xmlns:a16="http://schemas.microsoft.com/office/drawing/2014/main" id="{C095F036-2193-4701-9E93-908857BAAB2C}"/>
              </a:ext>
            </a:extLst>
          </p:cNvPr>
          <p:cNvSpPr txBox="1">
            <a:spLocks/>
          </p:cNvSpPr>
          <p:nvPr/>
        </p:nvSpPr>
        <p:spPr>
          <a:xfrm>
            <a:off x="1023571" y="1499735"/>
            <a:ext cx="2795716" cy="1765739"/>
          </a:xfrm>
          <a:prstGeom prst="rect">
            <a:avLst/>
          </a:prstGeom>
          <a:noFill/>
          <a:ln w="3175">
            <a:noFill/>
          </a:ln>
        </p:spPr>
        <p:txBody>
          <a:bodyPr numCol="1" anchor="ctr">
            <a:normAutofit/>
          </a:bodyPr>
          <a:lstStyle>
            <a:lvl1pPr marL="234000" indent="-234000" algn="l" defTabSz="914400" rtl="0" eaLnBrk="1" latinLnBrk="0" hangingPunct="1">
              <a:lnSpc>
                <a:spcPct val="10000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8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02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36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70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FECB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t>Etablert i 1985 og er i dag et ledende entreprenør- og industrikonsern med virksomhet innen anlegg, bygg, eiendom, energi og miljø, samt offshore. 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DDA5CADC-DA19-4285-811A-4392C809EDE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5735" y="4066382"/>
            <a:ext cx="1947587" cy="2581579"/>
          </a:xfrm>
          <a:prstGeom prst="rect">
            <a:avLst/>
          </a:prstGeom>
        </p:spPr>
      </p:pic>
      <p:sp>
        <p:nvSpPr>
          <p:cNvPr id="28" name="Plassholder for tekst 46">
            <a:extLst>
              <a:ext uri="{FF2B5EF4-FFF2-40B4-BE49-F238E27FC236}">
                <a16:creationId xmlns:a16="http://schemas.microsoft.com/office/drawing/2014/main" id="{E151E123-583F-4507-B856-556046A9F63C}"/>
              </a:ext>
            </a:extLst>
          </p:cNvPr>
          <p:cNvSpPr txBox="1">
            <a:spLocks/>
          </p:cNvSpPr>
          <p:nvPr/>
        </p:nvSpPr>
        <p:spPr>
          <a:xfrm>
            <a:off x="1190152" y="4175374"/>
            <a:ext cx="2716825" cy="439511"/>
          </a:xfrm>
          <a:prstGeom prst="rect">
            <a:avLst/>
          </a:prstGeom>
        </p:spPr>
        <p:txBody>
          <a:bodyPr/>
          <a:lstStyle>
            <a:lvl1pPr marL="234000" indent="-234000" algn="l" defTabSz="914400" rtl="0" eaLnBrk="1" latinLnBrk="0" hangingPunct="1">
              <a:lnSpc>
                <a:spcPct val="10000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8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02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36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70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FECB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t>Medarbeidere 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t>(Q4 – 2022)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Rubik"/>
              <a:ea typeface="+mn-ea"/>
              <a:cs typeface="+mn-cs"/>
            </a:endParaRPr>
          </a:p>
        </p:txBody>
      </p:sp>
      <p:graphicFrame>
        <p:nvGraphicFramePr>
          <p:cNvPr id="2" name="Plassholder for innhold 27">
            <a:extLst>
              <a:ext uri="{FF2B5EF4-FFF2-40B4-BE49-F238E27FC236}">
                <a16:creationId xmlns:a16="http://schemas.microsoft.com/office/drawing/2014/main" id="{1D4677B1-AF42-31B9-5167-91C4F9590E91}"/>
              </a:ext>
            </a:extLst>
          </p:cNvPr>
          <p:cNvGraphicFramePr>
            <a:graphicFrameLocks/>
          </p:cNvGraphicFramePr>
          <p:nvPr/>
        </p:nvGraphicFramePr>
        <p:xfrm>
          <a:off x="1190152" y="4612566"/>
          <a:ext cx="2039607" cy="14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" name="TekstSylinder 2">
            <a:extLst>
              <a:ext uri="{FF2B5EF4-FFF2-40B4-BE49-F238E27FC236}">
                <a16:creationId xmlns:a16="http://schemas.microsoft.com/office/drawing/2014/main" id="{C973219D-8EA9-037F-B9AC-DBDD67CBBA0A}"/>
              </a:ext>
            </a:extLst>
          </p:cNvPr>
          <p:cNvSpPr txBox="1"/>
          <p:nvPr/>
        </p:nvSpPr>
        <p:spPr>
          <a:xfrm>
            <a:off x="736442" y="6248814"/>
            <a:ext cx="158796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CB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t>*Foreløpig resultat</a:t>
            </a:r>
          </a:p>
        </p:txBody>
      </p:sp>
    </p:spTree>
    <p:extLst>
      <p:ext uri="{BB962C8B-B14F-4D97-AF65-F5344CB8AC3E}">
        <p14:creationId xmlns:p14="http://schemas.microsoft.com/office/powerpoint/2010/main" val="1783370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>
            <a:extLst>
              <a:ext uri="{FF2B5EF4-FFF2-40B4-BE49-F238E27FC236}">
                <a16:creationId xmlns:a16="http://schemas.microsoft.com/office/drawing/2014/main" id="{10300CE9-6810-4774-81B2-39798C11AB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9" progId="TCLayout.ActiveDocument.1">
                  <p:embed/>
                </p:oleObj>
              </mc:Choice>
              <mc:Fallback>
                <p:oleObj name="think-cell Slide" r:id="rId3" imgW="530" imgH="529" progId="TCLayout.ActiveDocument.1">
                  <p:embed/>
                  <p:pic>
                    <p:nvPicPr>
                      <p:cNvPr id="21" name="Objekt 20" hidden="1">
                        <a:extLst>
                          <a:ext uri="{FF2B5EF4-FFF2-40B4-BE49-F238E27FC236}">
                            <a16:creationId xmlns:a16="http://schemas.microsoft.com/office/drawing/2014/main" id="{10300CE9-6810-4774-81B2-39798C11AB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tel 3">
            <a:extLst>
              <a:ext uri="{FF2B5EF4-FFF2-40B4-BE49-F238E27FC236}">
                <a16:creationId xmlns:a16="http://schemas.microsoft.com/office/drawing/2014/main" id="{F44B7905-0866-4A58-ADE2-79F3E5C32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Våre virksomhetsområder</a:t>
            </a:r>
          </a:p>
        </p:txBody>
      </p:sp>
      <p:sp>
        <p:nvSpPr>
          <p:cNvPr id="22" name="Plassholder for tekst 12">
            <a:extLst>
              <a:ext uri="{FF2B5EF4-FFF2-40B4-BE49-F238E27FC236}">
                <a16:creationId xmlns:a16="http://schemas.microsoft.com/office/drawing/2014/main" id="{71723C1B-289D-4BA0-A3CA-131089613B7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9138" y="1624827"/>
            <a:ext cx="2339975" cy="2239147"/>
          </a:xfrm>
        </p:spPr>
        <p:txBody>
          <a:bodyPr lIns="180000" rIns="108000" bIns="108000">
            <a:normAutofit/>
          </a:bodyPr>
          <a:lstStyle/>
          <a:p>
            <a:endParaRPr lang="nb-NO" sz="1600"/>
          </a:p>
          <a:p>
            <a:r>
              <a:rPr lang="nb-NO" sz="1600"/>
              <a:t>Et prosjektbasert entreprenør- og industrikonsern med følgende virksomhetsområder</a:t>
            </a:r>
          </a:p>
        </p:txBody>
      </p:sp>
      <p:sp>
        <p:nvSpPr>
          <p:cNvPr id="14" name="Plassholder for tekst 13">
            <a:extLst>
              <a:ext uri="{FF2B5EF4-FFF2-40B4-BE49-F238E27FC236}">
                <a16:creationId xmlns:a16="http://schemas.microsoft.com/office/drawing/2014/main" id="{D29AD34B-C813-4428-ADF0-6A8BEDCC229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 algn="ctr"/>
            <a:r>
              <a:rPr lang="nb-NO" sz="1600"/>
              <a:t>Anlegg</a:t>
            </a:r>
          </a:p>
        </p:txBody>
      </p:sp>
      <p:sp>
        <p:nvSpPr>
          <p:cNvPr id="15" name="Plassholder for tekst 14">
            <a:extLst>
              <a:ext uri="{FF2B5EF4-FFF2-40B4-BE49-F238E27FC236}">
                <a16:creationId xmlns:a16="http://schemas.microsoft.com/office/drawing/2014/main" id="{36867CDF-0F7A-42E7-BEA6-998AEF766A1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pPr algn="ctr"/>
            <a:r>
              <a:rPr lang="nb-NO" sz="1600"/>
              <a:t>Bygg</a:t>
            </a: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21DBDC7E-6FAF-4669-80A3-267E05215A6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algn="ctr"/>
            <a:r>
              <a:rPr lang="nb-NO" err="1"/>
              <a:t>Betonmast</a:t>
            </a:r>
            <a:r>
              <a:rPr lang="nb-NO"/>
              <a:t> </a:t>
            </a:r>
            <a:r>
              <a:rPr lang="nb-NO" sz="1100"/>
              <a:t>(bygg)</a:t>
            </a:r>
            <a:endParaRPr lang="nb-NO"/>
          </a:p>
        </p:txBody>
      </p:sp>
      <p:sp>
        <p:nvSpPr>
          <p:cNvPr id="17" name="Plassholder for tekst 16">
            <a:extLst>
              <a:ext uri="{FF2B5EF4-FFF2-40B4-BE49-F238E27FC236}">
                <a16:creationId xmlns:a16="http://schemas.microsoft.com/office/drawing/2014/main" id="{FBFF4068-E4DE-47F8-AB4C-FCB9C46CA9D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algn="ctr"/>
            <a:r>
              <a:rPr lang="nb-NO" sz="1600"/>
              <a:t>Eiendom</a:t>
            </a:r>
          </a:p>
        </p:txBody>
      </p:sp>
      <p:sp>
        <p:nvSpPr>
          <p:cNvPr id="18" name="Plassholder for tekst 17">
            <a:extLst>
              <a:ext uri="{FF2B5EF4-FFF2-40B4-BE49-F238E27FC236}">
                <a16:creationId xmlns:a16="http://schemas.microsoft.com/office/drawing/2014/main" id="{4543ADE9-ED81-48BD-8CB8-CDC1FA00199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pPr algn="ctr"/>
            <a:r>
              <a:rPr lang="nb-NO" sz="1600"/>
              <a:t>Energi &amp; Miljø</a:t>
            </a:r>
          </a:p>
        </p:txBody>
      </p:sp>
      <p:sp>
        <p:nvSpPr>
          <p:cNvPr id="19" name="Plassholder for tekst 18">
            <a:extLst>
              <a:ext uri="{FF2B5EF4-FFF2-40B4-BE49-F238E27FC236}">
                <a16:creationId xmlns:a16="http://schemas.microsoft.com/office/drawing/2014/main" id="{CAD9C710-4361-41C2-B533-1BF3F358F3C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nb-NO" sz="1600"/>
              <a:t>Sverige </a:t>
            </a:r>
            <a:r>
              <a:rPr lang="nb-NO" sz="1050"/>
              <a:t>(bygg, anlegg og miljø)</a:t>
            </a:r>
            <a:endParaRPr lang="nb-NO" sz="1600"/>
          </a:p>
        </p:txBody>
      </p:sp>
      <p:sp>
        <p:nvSpPr>
          <p:cNvPr id="20" name="Plassholder for tekst 19">
            <a:extLst>
              <a:ext uri="{FF2B5EF4-FFF2-40B4-BE49-F238E27FC236}">
                <a16:creationId xmlns:a16="http://schemas.microsoft.com/office/drawing/2014/main" id="{52B35DEB-E3F8-4225-8887-15CBD7CFCF6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pPr algn="ctr"/>
            <a:r>
              <a:rPr lang="nb-NO" sz="1600"/>
              <a:t>Offshore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A8B7D572-B0B5-4046-BB22-4A45E6C4CA2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0000" y="226693"/>
            <a:ext cx="1945046" cy="404814"/>
          </a:xfrm>
        </p:spPr>
        <p:txBody>
          <a:bodyPr/>
          <a:lstStyle/>
          <a:p>
            <a:r>
              <a:rPr lang="nb-NO"/>
              <a:t>Dette er AF Gruppen</a:t>
            </a:r>
          </a:p>
        </p:txBody>
      </p:sp>
      <p:pic>
        <p:nvPicPr>
          <p:cNvPr id="32" name="Plassholder for bilde 5">
            <a:extLst>
              <a:ext uri="{FF2B5EF4-FFF2-40B4-BE49-F238E27FC236}">
                <a16:creationId xmlns:a16="http://schemas.microsoft.com/office/drawing/2014/main" id="{D4898FFB-3610-4BA8-B02B-49C70E2583B5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48750" y="4273550"/>
            <a:ext cx="2339975" cy="1873250"/>
          </a:xfrm>
        </p:spPr>
      </p:pic>
      <p:pic>
        <p:nvPicPr>
          <p:cNvPr id="11" name="Plassholder for bilde 10" descr="Et bilde som inneholder himmel, spor, vei, bilvei&#10;&#10;Automatisk generert beskrivelse">
            <a:extLst>
              <a:ext uri="{FF2B5EF4-FFF2-40B4-BE49-F238E27FC236}">
                <a16:creationId xmlns:a16="http://schemas.microsoft.com/office/drawing/2014/main" id="{C88D856A-ECA1-7C7E-1CE4-36167ADA72D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3" name="Plassholder for bilde 12" descr="Et bilde som inneholder utendørs, leiegård, bilvei&#10;&#10;Automatisk generert beskrivelse">
            <a:extLst>
              <a:ext uri="{FF2B5EF4-FFF2-40B4-BE49-F238E27FC236}">
                <a16:creationId xmlns:a16="http://schemas.microsoft.com/office/drawing/2014/main" id="{F77BEB3F-8934-344C-FEC2-50B461DE59D9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26" name="Plassholder for bilde 25">
            <a:extLst>
              <a:ext uri="{FF2B5EF4-FFF2-40B4-BE49-F238E27FC236}">
                <a16:creationId xmlns:a16="http://schemas.microsoft.com/office/drawing/2014/main" id="{2A70A996-74A6-279E-2116-6E39B96DC8E0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0" name="Plassholder for bilde 9" descr="Et bilde som inneholder himmel, utendørs&#10;&#10;Automatisk generert beskrivelse">
            <a:extLst>
              <a:ext uri="{FF2B5EF4-FFF2-40B4-BE49-F238E27FC236}">
                <a16:creationId xmlns:a16="http://schemas.microsoft.com/office/drawing/2014/main" id="{69879BE8-722A-603D-592F-59E40293E41D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24" name="Plassholder for bilde 23" descr="Et bilde som inneholder utendørs&#10;&#10;Automatisk generert beskrivelse">
            <a:extLst>
              <a:ext uri="{FF2B5EF4-FFF2-40B4-BE49-F238E27FC236}">
                <a16:creationId xmlns:a16="http://schemas.microsoft.com/office/drawing/2014/main" id="{7E5E0270-483C-3088-39EA-0712085D3B0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37" name="Plassholder for bilde 36" descr="Et bilde som inneholder himmel, bygning, utendørs, leiegård&#10;&#10;Automatisk generert beskrivelse">
            <a:extLst>
              <a:ext uri="{FF2B5EF4-FFF2-40B4-BE49-F238E27FC236}">
                <a16:creationId xmlns:a16="http://schemas.microsoft.com/office/drawing/2014/main" id="{B7BFFB99-A78E-403C-90D2-53E05D5A8C9C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305145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lassholder for bilde 14" descr="Under Bukkestein bruer på E39. Foto: AF Gruppen&#10;&#10;Automatisk generert beskrivelse">
            <a:extLst>
              <a:ext uri="{FF2B5EF4-FFF2-40B4-BE49-F238E27FC236}">
                <a16:creationId xmlns:a16="http://schemas.microsoft.com/office/drawing/2014/main" id="{1CB65F07-35F5-7240-EFF0-48F53102BD5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03"/>
          <a:stretch/>
        </p:blipFill>
        <p:spPr>
          <a:xfrm>
            <a:off x="7859713" y="0"/>
            <a:ext cx="4332287" cy="6858000"/>
          </a:xfrm>
        </p:spPr>
      </p:pic>
      <p:sp>
        <p:nvSpPr>
          <p:cNvPr id="20" name="Plassholder for tekst 19">
            <a:extLst>
              <a:ext uri="{FF2B5EF4-FFF2-40B4-BE49-F238E27FC236}">
                <a16:creationId xmlns:a16="http://schemas.microsoft.com/office/drawing/2014/main" id="{F7CF4CBB-4944-4881-B651-B0090FA1D15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nb-NO">
              <a:latin typeface="+mj-lt"/>
            </a:endParaRP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2609D228-B014-42A0-9975-59630C3ECA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9" name="Plassholder for lysbildenummer 18">
            <a:extLst>
              <a:ext uri="{FF2B5EF4-FFF2-40B4-BE49-F238E27FC236}">
                <a16:creationId xmlns:a16="http://schemas.microsoft.com/office/drawing/2014/main" id="{6A272274-94DA-4C06-ACB9-415B756668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AC64C7A-DCF3-4F6E-A310-35FC0E27D491}" type="slidenum">
              <a:rPr kumimoji="0" lang="nb-NO" sz="700" b="0" i="0" u="none" strike="noStrike" kern="1200" cap="none" spc="0" normalizeH="0" baseline="0" noProof="0" smtClean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nb-NO" sz="700" b="0" i="0" u="none" strike="noStrike" kern="1200" cap="none" spc="0" normalizeH="0" baseline="0" noProof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Rubik"/>
              <a:ea typeface="+mn-ea"/>
              <a:cs typeface="+mn-cs"/>
            </a:endParaRPr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607A7553-2A19-4422-A573-C2D6DC924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sz="2400"/>
              <a:t>Anleggsvirksomhet i Norge og Sverige</a:t>
            </a:r>
            <a:endParaRPr lang="nb-NO" sz="2800"/>
          </a:p>
        </p:txBody>
      </p: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6B62BBC7-1999-46AE-BC2C-DD353314C2C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b="1">
                <a:latin typeface="+mj-lt"/>
              </a:rPr>
              <a:t>Tjenester</a:t>
            </a:r>
          </a:p>
          <a:p>
            <a:pPr marL="233045" indent="-233045">
              <a:spcBef>
                <a:spcPts val="300"/>
              </a:spcBef>
              <a:spcAft>
                <a:spcPts val="0"/>
              </a:spcAft>
            </a:pPr>
            <a:r>
              <a:rPr lang="nb-NO" sz="1200">
                <a:latin typeface="+mj-lt"/>
              </a:rPr>
              <a:t>Vegbygging </a:t>
            </a:r>
          </a:p>
          <a:p>
            <a:pPr marL="233045" indent="-233045">
              <a:spcBef>
                <a:spcPts val="300"/>
              </a:spcBef>
              <a:spcAft>
                <a:spcPts val="0"/>
              </a:spcAft>
            </a:pPr>
            <a:r>
              <a:rPr lang="nb-NO" sz="1200">
                <a:latin typeface="+mj-lt"/>
              </a:rPr>
              <a:t>Bane, havn, flyplass </a:t>
            </a:r>
          </a:p>
          <a:p>
            <a:pPr marL="233045" indent="-233045">
              <a:spcBef>
                <a:spcPts val="300"/>
              </a:spcBef>
              <a:spcAft>
                <a:spcPts val="0"/>
              </a:spcAft>
            </a:pPr>
            <a:r>
              <a:rPr lang="nb-NO" sz="1200">
                <a:latin typeface="+mj-lt"/>
              </a:rPr>
              <a:t>Nybygg og oppgradering av tunneler og </a:t>
            </a:r>
            <a:r>
              <a:rPr lang="nb-NO" sz="1200" err="1">
                <a:latin typeface="+mj-lt"/>
              </a:rPr>
              <a:t>berghaller</a:t>
            </a:r>
            <a:r>
              <a:rPr lang="nb-NO" sz="1200">
                <a:latin typeface="+mj-lt"/>
              </a:rPr>
              <a:t> </a:t>
            </a:r>
          </a:p>
          <a:p>
            <a:pPr marL="233045" indent="-233045">
              <a:spcBef>
                <a:spcPts val="300"/>
              </a:spcBef>
              <a:spcAft>
                <a:spcPts val="0"/>
              </a:spcAft>
            </a:pPr>
            <a:r>
              <a:rPr lang="nb-NO" sz="1200">
                <a:latin typeface="+mj-lt"/>
              </a:rPr>
              <a:t>Fundamentering </a:t>
            </a:r>
          </a:p>
          <a:p>
            <a:pPr marL="233045" indent="-233045">
              <a:spcBef>
                <a:spcPts val="300"/>
              </a:spcBef>
              <a:spcAft>
                <a:spcPts val="0"/>
              </a:spcAft>
            </a:pPr>
            <a:r>
              <a:rPr lang="nb-NO" sz="1200">
                <a:latin typeface="+mj-lt"/>
              </a:rPr>
              <a:t>Kraft og energi </a:t>
            </a:r>
          </a:p>
          <a:p>
            <a:pPr marL="233045" indent="-233045">
              <a:spcBef>
                <a:spcPts val="300"/>
              </a:spcBef>
              <a:spcAft>
                <a:spcPts val="0"/>
              </a:spcAft>
            </a:pPr>
            <a:r>
              <a:rPr lang="nb-NO" sz="1200">
                <a:latin typeface="+mj-lt"/>
              </a:rPr>
              <a:t>Landanlegg for olje- og gassindustrien</a:t>
            </a:r>
          </a:p>
          <a:p>
            <a:pPr marL="233045" indent="-233045">
              <a:spcBef>
                <a:spcPts val="300"/>
              </a:spcBef>
              <a:spcAft>
                <a:spcPts val="0"/>
              </a:spcAft>
            </a:pPr>
            <a:r>
              <a:rPr lang="nb-NO" sz="1200" err="1">
                <a:latin typeface="+mj-lt"/>
                <a:ea typeface="+mn-lt"/>
                <a:cs typeface="+mn-lt"/>
              </a:rPr>
              <a:t>Plasstøpte</a:t>
            </a:r>
            <a:r>
              <a:rPr lang="nb-NO" sz="1200">
                <a:latin typeface="+mj-lt"/>
                <a:ea typeface="+mn-lt"/>
                <a:cs typeface="+mn-lt"/>
              </a:rPr>
              <a:t> råbygg og konstruksjoner </a:t>
            </a:r>
            <a:endParaRPr lang="nb-NO" sz="1200">
              <a:latin typeface="+mj-lt"/>
            </a:endParaRP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BA842B3F-0E6E-4B75-80D9-3270A8D2FA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0000" y="186549"/>
            <a:ext cx="979435" cy="355276"/>
          </a:xfrm>
        </p:spPr>
        <p:txBody>
          <a:bodyPr/>
          <a:lstStyle/>
          <a:p>
            <a:r>
              <a:rPr lang="nb-NO"/>
              <a:t>AF Anlegg</a:t>
            </a:r>
          </a:p>
        </p:txBody>
      </p:sp>
      <p:graphicFrame>
        <p:nvGraphicFramePr>
          <p:cNvPr id="35" name="Plassholder for innhold 27">
            <a:extLst>
              <a:ext uri="{FF2B5EF4-FFF2-40B4-BE49-F238E27FC236}">
                <a16:creationId xmlns:a16="http://schemas.microsoft.com/office/drawing/2014/main" id="{74AA283D-F2E7-4E0E-A257-0B94687C5FA2}"/>
              </a:ext>
            </a:extLst>
          </p:cNvPr>
          <p:cNvGraphicFramePr>
            <a:graphicFrameLocks noGrp="1"/>
          </p:cNvGraphicFramePr>
          <p:nvPr>
            <p:ph sz="quarter" idx="25"/>
          </p:nvPr>
        </p:nvGraphicFramePr>
        <p:xfrm>
          <a:off x="5383689" y="2104547"/>
          <a:ext cx="2039607" cy="14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2" name="Plassholder for tekst 7">
            <a:extLst>
              <a:ext uri="{FF2B5EF4-FFF2-40B4-BE49-F238E27FC236}">
                <a16:creationId xmlns:a16="http://schemas.microsoft.com/office/drawing/2014/main" id="{B1328EA8-E72C-4E1D-948B-7B6579A2F1C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nb-NO" b="0">
                <a:latin typeface="+mj-lt"/>
              </a:rPr>
              <a:t>Omsetning </a:t>
            </a:r>
          </a:p>
        </p:txBody>
      </p:sp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B8DA97C7-8E29-4EAD-B3D8-74853D532EB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b="1">
                <a:latin typeface="+mj-lt"/>
              </a:rPr>
              <a:t>Geografisk </a:t>
            </a:r>
            <a:br>
              <a:rPr lang="nb-NO" b="1">
                <a:latin typeface="+mj-lt"/>
              </a:rPr>
            </a:br>
            <a:r>
              <a:rPr lang="nb-NO" b="1">
                <a:latin typeface="+mj-lt"/>
              </a:rPr>
              <a:t>tilstedeværelse</a:t>
            </a:r>
          </a:p>
        </p:txBody>
      </p:sp>
      <p:sp>
        <p:nvSpPr>
          <p:cNvPr id="25" name="Plassholder for tekst 10">
            <a:extLst>
              <a:ext uri="{FF2B5EF4-FFF2-40B4-BE49-F238E27FC236}">
                <a16:creationId xmlns:a16="http://schemas.microsoft.com/office/drawing/2014/main" id="{5A5A0A39-1B69-4A95-8358-1A1E8129720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nb-NO" b="0">
                <a:latin typeface="+mj-lt"/>
              </a:rPr>
              <a:t>Vår virksomhet</a:t>
            </a:r>
          </a:p>
        </p:txBody>
      </p:sp>
      <p:sp>
        <p:nvSpPr>
          <p:cNvPr id="47" name="Plassholder for tekst 46">
            <a:extLst>
              <a:ext uri="{FF2B5EF4-FFF2-40B4-BE49-F238E27FC236}">
                <a16:creationId xmlns:a16="http://schemas.microsoft.com/office/drawing/2014/main" id="{C082EF3E-D15A-483F-9DC1-B553623DE3B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499919" y="1648959"/>
            <a:ext cx="2016454" cy="439511"/>
          </a:xfrm>
        </p:spPr>
        <p:txBody>
          <a:bodyPr/>
          <a:lstStyle/>
          <a:p>
            <a:r>
              <a:rPr lang="nb-NO" b="0">
                <a:latin typeface="+mj-lt"/>
              </a:rPr>
              <a:t>Medarbeidere</a:t>
            </a:r>
          </a:p>
        </p:txBody>
      </p:sp>
      <p:sp>
        <p:nvSpPr>
          <p:cNvPr id="21" name="Plassholder for tekst 20">
            <a:extLst>
              <a:ext uri="{FF2B5EF4-FFF2-40B4-BE49-F238E27FC236}">
                <a16:creationId xmlns:a16="http://schemas.microsoft.com/office/drawing/2014/main" id="{346B3F2F-252F-4788-9F57-E7D33FDADE9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nb-NO">
              <a:latin typeface="+mj-lt"/>
            </a:endParaRPr>
          </a:p>
        </p:txBody>
      </p:sp>
      <p:sp>
        <p:nvSpPr>
          <p:cNvPr id="23" name="Plassholder for tekst 22">
            <a:extLst>
              <a:ext uri="{FF2B5EF4-FFF2-40B4-BE49-F238E27FC236}">
                <a16:creationId xmlns:a16="http://schemas.microsoft.com/office/drawing/2014/main" id="{B5505C09-CE43-4003-8876-7B632756E0A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nb-NO">
              <a:latin typeface="+mj-lt"/>
            </a:endParaRPr>
          </a:p>
        </p:txBody>
      </p:sp>
      <p:sp>
        <p:nvSpPr>
          <p:cNvPr id="24" name="Plassholder for tekst 23">
            <a:extLst>
              <a:ext uri="{FF2B5EF4-FFF2-40B4-BE49-F238E27FC236}">
                <a16:creationId xmlns:a16="http://schemas.microsoft.com/office/drawing/2014/main" id="{8281593D-C383-4C65-8C23-D0081753A63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nb-NO">
              <a:latin typeface="+mj-lt"/>
            </a:endParaRPr>
          </a:p>
        </p:txBody>
      </p:sp>
      <p:graphicFrame>
        <p:nvGraphicFramePr>
          <p:cNvPr id="33" name="Objekt 32" hidden="1">
            <a:extLst>
              <a:ext uri="{FF2B5EF4-FFF2-40B4-BE49-F238E27FC236}">
                <a16:creationId xmlns:a16="http://schemas.microsoft.com/office/drawing/2014/main" id="{20A177E3-8D0D-4427-B3D8-4449DDD174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30" imgH="529" progId="TCLayout.ActiveDocument.1">
                  <p:embed/>
                </p:oleObj>
              </mc:Choice>
              <mc:Fallback>
                <p:oleObj name="think-cell Slide" r:id="rId6" imgW="530" imgH="529" progId="TCLayout.ActiveDocument.1">
                  <p:embed/>
                  <p:pic>
                    <p:nvPicPr>
                      <p:cNvPr id="33" name="Objekt 32" hidden="1">
                        <a:extLst>
                          <a:ext uri="{FF2B5EF4-FFF2-40B4-BE49-F238E27FC236}">
                            <a16:creationId xmlns:a16="http://schemas.microsoft.com/office/drawing/2014/main" id="{20A177E3-8D0D-4427-B3D8-4449DDD174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Plassholder for tekst 17">
            <a:extLst>
              <a:ext uri="{FF2B5EF4-FFF2-40B4-BE49-F238E27FC236}">
                <a16:creationId xmlns:a16="http://schemas.microsoft.com/office/drawing/2014/main" id="{156AAB1D-9A13-4283-9E7C-4248B3C6A1C0}"/>
              </a:ext>
            </a:extLst>
          </p:cNvPr>
          <p:cNvSpPr txBox="1">
            <a:spLocks/>
          </p:cNvSpPr>
          <p:nvPr/>
        </p:nvSpPr>
        <p:spPr>
          <a:xfrm>
            <a:off x="744429" y="2299558"/>
            <a:ext cx="2151673" cy="540287"/>
          </a:xfrm>
          <a:prstGeom prst="rect">
            <a:avLst/>
          </a:prstGeom>
        </p:spPr>
        <p:txBody>
          <a:bodyPr/>
          <a:lstStyle>
            <a:lvl1pPr marL="234000" indent="-234000" algn="l" defTabSz="914400" rtl="0" eaLnBrk="1" latinLnBrk="0" hangingPunct="1">
              <a:lnSpc>
                <a:spcPct val="10000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8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02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36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70000" indent="-23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ECB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t>4 000-6 000 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t>MNOK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328AB6B0-4BB8-41F7-9770-915C2EAEA3B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9513" y="3856944"/>
            <a:ext cx="2013095" cy="2865546"/>
          </a:xfrm>
          <a:prstGeom prst="rect">
            <a:avLst/>
          </a:prstGeom>
        </p:spPr>
      </p:pic>
      <p:sp>
        <p:nvSpPr>
          <p:cNvPr id="55" name="Plassholder for tekst 15">
            <a:extLst>
              <a:ext uri="{FF2B5EF4-FFF2-40B4-BE49-F238E27FC236}">
                <a16:creationId xmlns:a16="http://schemas.microsoft.com/office/drawing/2014/main" id="{48177E68-411F-4928-939B-3555FFD825D6}"/>
              </a:ext>
            </a:extLst>
          </p:cNvPr>
          <p:cNvSpPr txBox="1">
            <a:spLocks/>
          </p:cNvSpPr>
          <p:nvPr/>
        </p:nvSpPr>
        <p:spPr>
          <a:xfrm>
            <a:off x="3219951" y="2104547"/>
            <a:ext cx="1908541" cy="13244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None/>
              <a:defRPr sz="4800" kern="1200">
                <a:solidFill>
                  <a:schemeClr val="tx2"/>
                </a:solidFill>
                <a:latin typeface="Myriad Pro Light" panose="020B0403030403020204" pitchFamily="34" charset="0"/>
                <a:ea typeface="+mn-ea"/>
                <a:cs typeface="+mn-cs"/>
              </a:defRPr>
            </a:lvl1pPr>
            <a:lvl2pPr marL="2340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None/>
              <a:defRPr sz="1600" kern="1200">
                <a:solidFill>
                  <a:schemeClr val="tx2"/>
                </a:solidFill>
                <a:latin typeface="Myriad Pro Light" panose="020B0403030403020204" pitchFamily="34" charset="0"/>
                <a:ea typeface="+mn-ea"/>
                <a:cs typeface="+mn-cs"/>
              </a:defRPr>
            </a:lvl2pPr>
            <a:lvl3pPr marL="4680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None/>
              <a:defRPr sz="1600" kern="1200">
                <a:solidFill>
                  <a:schemeClr val="tx2"/>
                </a:solidFill>
                <a:latin typeface="Myriad Pro Light" panose="020B0403030403020204" pitchFamily="34" charset="0"/>
                <a:ea typeface="+mn-ea"/>
                <a:cs typeface="+mn-cs"/>
              </a:defRPr>
            </a:lvl3pPr>
            <a:lvl4pPr marL="7020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None/>
              <a:defRPr sz="1600" kern="1200">
                <a:solidFill>
                  <a:schemeClr val="tx2"/>
                </a:solidFill>
                <a:latin typeface="Myriad Pro Light" panose="020B0403030403020204" pitchFamily="34" charset="0"/>
                <a:ea typeface="+mn-ea"/>
                <a:cs typeface="+mn-cs"/>
              </a:defRPr>
            </a:lvl4pPr>
            <a:lvl5pPr marL="9360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itchFamily="2" charset="2"/>
              <a:buNone/>
              <a:defRPr sz="1600" kern="1200">
                <a:solidFill>
                  <a:schemeClr val="tx2"/>
                </a:solidFill>
                <a:latin typeface="Myriad Pro Light" panose="020B04030304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1600"/>
              </a:spcBef>
              <a:spcAft>
                <a:spcPct val="0"/>
              </a:spcAft>
              <a:buClr>
                <a:srgbClr val="FECB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Myriad Pro Light" panose="020B0403030403020204" pitchFamily="34" charset="0"/>
                <a:ea typeface="+mn-ea"/>
                <a:cs typeface="+mn-cs"/>
              </a:rPr>
              <a:t>AF Anlegg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FECB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Myriad Pro Light" panose="020B0403030403020204" pitchFamily="34" charset="0"/>
                <a:ea typeface="+mn-ea"/>
                <a:cs typeface="+mn-cs"/>
              </a:rPr>
              <a:t>Egenregi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FECB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Myriad Pro Light" panose="020B0403030403020204" pitchFamily="34" charset="0"/>
                <a:ea typeface="+mn-ea"/>
                <a:cs typeface="+mn-cs"/>
              </a:rPr>
              <a:t>JR Anlegg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FECB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Myriad Pro Light" panose="020B0403030403020204" pitchFamily="34" charset="0"/>
                <a:ea typeface="+mn-ea"/>
                <a:cs typeface="+mn-cs"/>
              </a:rPr>
              <a:t>AF </a:t>
            </a:r>
            <a:r>
              <a:rPr kumimoji="0" lang="nb-NO" sz="1200" b="0" i="0" u="none" strike="noStrike" kern="1200" cap="none" spc="0" normalizeH="0" baseline="0" noProof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Myriad Pro Light" panose="020B0403030403020204" pitchFamily="34" charset="0"/>
                <a:ea typeface="+mn-ea"/>
                <a:cs typeface="+mn-cs"/>
              </a:rPr>
              <a:t>Anläggning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Myriad Pro Light" panose="020B0403030403020204" pitchFamily="34" charset="0"/>
                <a:ea typeface="+mn-ea"/>
                <a:cs typeface="+mn-cs"/>
              </a:rPr>
              <a:t> AB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FECB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Myriad Pro Light" panose="020B0403030403020204" pitchFamily="34" charset="0"/>
                <a:ea typeface="+mn-ea"/>
                <a:cs typeface="+mn-cs"/>
              </a:rPr>
              <a:t>JV AF </a:t>
            </a:r>
            <a:r>
              <a:rPr kumimoji="0" lang="nb-NO" sz="1200" b="0" i="0" u="none" strike="noStrike" kern="1200" cap="none" spc="0" normalizeH="0" baseline="0" noProof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Myriad Pro Light" panose="020B0403030403020204" pitchFamily="34" charset="0"/>
                <a:ea typeface="+mn-ea"/>
                <a:cs typeface="+mn-cs"/>
              </a:rPr>
              <a:t>Ghella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Myriad Pro Light" panose="020B0403030403020204" pitchFamily="34" charset="0"/>
                <a:ea typeface="+mn-ea"/>
                <a:cs typeface="+mn-cs"/>
              </a:rPr>
              <a:t> ANS</a:t>
            </a:r>
          </a:p>
        </p:txBody>
      </p:sp>
    </p:spTree>
    <p:extLst>
      <p:ext uri="{BB962C8B-B14F-4D97-AF65-F5344CB8AC3E}">
        <p14:creationId xmlns:p14="http://schemas.microsoft.com/office/powerpoint/2010/main" val="2348509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DD203398-D659-4CD0-A95D-BD99088AD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3200">
                <a:solidFill>
                  <a:srgbClr val="84236B"/>
                </a:solidFill>
                <a:latin typeface="Arial"/>
                <a:ea typeface="+mj-ea"/>
                <a:cs typeface="Arial"/>
              </a:rPr>
              <a:t>ENMR – Mo i Rana </a:t>
            </a:r>
            <a:r>
              <a:rPr lang="sv-SE" sz="3200" err="1">
                <a:solidFill>
                  <a:srgbClr val="84236B"/>
                </a:solidFill>
                <a:latin typeface="Arial"/>
                <a:ea typeface="+mj-ea"/>
                <a:cs typeface="Arial"/>
              </a:rPr>
              <a:t>lufthavn</a:t>
            </a:r>
            <a:r>
              <a:rPr lang="sv-SE" sz="3200">
                <a:solidFill>
                  <a:srgbClr val="84236B"/>
                </a:solidFill>
                <a:latin typeface="Arial"/>
                <a:ea typeface="+mj-ea"/>
                <a:cs typeface="Arial"/>
              </a:rPr>
              <a:t>, </a:t>
            </a:r>
            <a:r>
              <a:rPr lang="sv-SE" sz="3200" err="1">
                <a:solidFill>
                  <a:srgbClr val="84236B"/>
                </a:solidFill>
                <a:latin typeface="Arial"/>
                <a:ea typeface="+mj-ea"/>
                <a:cs typeface="Arial"/>
              </a:rPr>
              <a:t>Fagerlia</a:t>
            </a:r>
            <a:endParaRPr lang="nb-NO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A0491A5C-D8EE-45DA-9516-9CAC6CA275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 lnSpcReduction="10000"/>
          </a:bodyPr>
          <a:lstStyle/>
          <a:p>
            <a:pPr marL="456565" indent="-456565"/>
            <a:r>
              <a:rPr lang="nb-NO" dirty="0"/>
              <a:t>Hovedtrekk i planlagt fremdrift for utbygging:</a:t>
            </a:r>
          </a:p>
          <a:p>
            <a:pPr marL="989965" lvl="1" indent="-380365"/>
            <a:r>
              <a:rPr lang="nb-NO" sz="2650" dirty="0"/>
              <a:t>Oppstart mai 2023. Gradvis ressursøkning. </a:t>
            </a:r>
            <a:endParaRPr lang="nb-NO" sz="2650" dirty="0">
              <a:cs typeface="Arial"/>
            </a:endParaRPr>
          </a:p>
          <a:p>
            <a:pPr marL="989965" lvl="1" indent="-380365"/>
            <a:r>
              <a:rPr lang="nb-NO" sz="2650" dirty="0"/>
              <a:t>Sommersesonger er svært viktige for gjennomføringen. En del arbeider kan ikke gjøres på vinteren.</a:t>
            </a:r>
            <a:endParaRPr lang="nb-NO" sz="2650" dirty="0">
              <a:cs typeface="Arial"/>
            </a:endParaRPr>
          </a:p>
          <a:p>
            <a:pPr marL="989965" lvl="1" indent="-380365"/>
            <a:r>
              <a:rPr lang="nb-NO" sz="2650" dirty="0"/>
              <a:t>Ferieavvikling</a:t>
            </a:r>
            <a:endParaRPr lang="nb-NO" sz="2650" dirty="0">
              <a:cs typeface="Arial"/>
            </a:endParaRPr>
          </a:p>
          <a:p>
            <a:pPr marL="1523365" lvl="2" indent="-304165"/>
            <a:r>
              <a:rPr lang="nb-NO" dirty="0"/>
              <a:t>Planlegger 2-3 uker sommerferie. Men kan bli noe drift hele sommeren</a:t>
            </a:r>
            <a:endParaRPr lang="nb-NO" dirty="0">
              <a:cs typeface="Arial"/>
            </a:endParaRPr>
          </a:p>
          <a:p>
            <a:pPr marL="1523365" lvl="2" indent="-304165"/>
            <a:r>
              <a:rPr lang="nb-NO" dirty="0"/>
              <a:t>Ingen drift i helligdager i jul- og påske.</a:t>
            </a:r>
            <a:endParaRPr lang="nb-NO" dirty="0">
              <a:cs typeface="Arial"/>
            </a:endParaRPr>
          </a:p>
          <a:p>
            <a:pPr marL="1523365" lvl="2" indent="-304165"/>
            <a:r>
              <a:rPr lang="nb-NO" dirty="0"/>
              <a:t>Noen helligdager vil det bli søkt om å jobbe.</a:t>
            </a:r>
            <a:endParaRPr lang="nb-NO" dirty="0">
              <a:cs typeface="Arial"/>
            </a:endParaRPr>
          </a:p>
          <a:p>
            <a:pPr marL="1523365" lvl="2" indent="-304165"/>
            <a:r>
              <a:rPr lang="nb-NO" dirty="0"/>
              <a:t>Det legges opp til søndagsarbeid for å få godkjente effektive arbeidstidsordninger.</a:t>
            </a:r>
            <a:endParaRPr lang="nb-NO" dirty="0">
              <a:cs typeface="Arial"/>
            </a:endParaRPr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675614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DD203398-D659-4CD0-A95D-BD99088AD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3200">
                <a:solidFill>
                  <a:srgbClr val="84236B"/>
                </a:solidFill>
                <a:latin typeface="Arial"/>
                <a:ea typeface="+mj-ea"/>
                <a:cs typeface="Arial"/>
              </a:rPr>
              <a:t>ENMR – Mo i Rana </a:t>
            </a:r>
            <a:r>
              <a:rPr lang="sv-SE" sz="3200" err="1">
                <a:solidFill>
                  <a:srgbClr val="84236B"/>
                </a:solidFill>
                <a:latin typeface="Arial"/>
                <a:ea typeface="+mj-ea"/>
                <a:cs typeface="Arial"/>
              </a:rPr>
              <a:t>lufthavn</a:t>
            </a:r>
            <a:r>
              <a:rPr lang="sv-SE" sz="3200">
                <a:solidFill>
                  <a:srgbClr val="84236B"/>
                </a:solidFill>
                <a:latin typeface="Arial"/>
                <a:ea typeface="+mj-ea"/>
                <a:cs typeface="Arial"/>
              </a:rPr>
              <a:t>, </a:t>
            </a:r>
            <a:r>
              <a:rPr lang="sv-SE" sz="3200" err="1">
                <a:solidFill>
                  <a:srgbClr val="84236B"/>
                </a:solidFill>
                <a:latin typeface="Arial"/>
                <a:ea typeface="+mj-ea"/>
                <a:cs typeface="Arial"/>
              </a:rPr>
              <a:t>Fagerlia</a:t>
            </a:r>
            <a:endParaRPr lang="nb-NO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4E8D0989-A25C-83F3-A084-70AD459F84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596" y="1349804"/>
            <a:ext cx="9676738" cy="4769634"/>
          </a:xfrm>
          <a:prstGeom prst="rect">
            <a:avLst/>
          </a:prstGeom>
        </p:spPr>
      </p:pic>
      <p:cxnSp>
        <p:nvCxnSpPr>
          <p:cNvPr id="3" name="Rett pilkobling 2">
            <a:extLst>
              <a:ext uri="{FF2B5EF4-FFF2-40B4-BE49-F238E27FC236}">
                <a16:creationId xmlns:a16="http://schemas.microsoft.com/office/drawing/2014/main" id="{E93BB643-2FA1-50D8-36FA-7FF241AA60CA}"/>
              </a:ext>
            </a:extLst>
          </p:cNvPr>
          <p:cNvCxnSpPr>
            <a:cxnSpLocks/>
          </p:cNvCxnSpPr>
          <p:nvPr/>
        </p:nvCxnSpPr>
        <p:spPr>
          <a:xfrm flipH="1" flipV="1">
            <a:off x="6223247" y="3098307"/>
            <a:ext cx="2015231" cy="852256"/>
          </a:xfrm>
          <a:prstGeom prst="straightConnector1">
            <a:avLst/>
          </a:prstGeom>
          <a:ln w="57150">
            <a:solidFill>
              <a:srgbClr val="00B0F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" name="Rett pilkobling 8">
            <a:extLst>
              <a:ext uri="{FF2B5EF4-FFF2-40B4-BE49-F238E27FC236}">
                <a16:creationId xmlns:a16="http://schemas.microsoft.com/office/drawing/2014/main" id="{C3C26A90-2DDC-52C0-8D7A-0F26592AF2C3}"/>
              </a:ext>
            </a:extLst>
          </p:cNvPr>
          <p:cNvCxnSpPr>
            <a:cxnSpLocks/>
          </p:cNvCxnSpPr>
          <p:nvPr/>
        </p:nvCxnSpPr>
        <p:spPr>
          <a:xfrm flipH="1" flipV="1">
            <a:off x="5968754" y="2672179"/>
            <a:ext cx="2553069" cy="1296542"/>
          </a:xfrm>
          <a:prstGeom prst="straightConnector1">
            <a:avLst/>
          </a:prstGeom>
          <a:ln w="57150">
            <a:solidFill>
              <a:srgbClr val="00B0F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0F1BF9E6-014D-49B9-03FF-A71B148700C4}"/>
              </a:ext>
            </a:extLst>
          </p:cNvPr>
          <p:cNvSpPr txBox="1"/>
          <p:nvPr/>
        </p:nvSpPr>
        <p:spPr>
          <a:xfrm>
            <a:off x="7435048" y="3968721"/>
            <a:ext cx="1748901" cy="646331"/>
          </a:xfrm>
          <a:prstGeom prst="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yllingsområde (blått)</a:t>
            </a:r>
          </a:p>
        </p:txBody>
      </p:sp>
      <p:cxnSp>
        <p:nvCxnSpPr>
          <p:cNvPr id="14" name="Rett pilkobling 13">
            <a:extLst>
              <a:ext uri="{FF2B5EF4-FFF2-40B4-BE49-F238E27FC236}">
                <a16:creationId xmlns:a16="http://schemas.microsoft.com/office/drawing/2014/main" id="{1869F00C-93A5-572C-98F9-CABF1F615F4B}"/>
              </a:ext>
            </a:extLst>
          </p:cNvPr>
          <p:cNvCxnSpPr>
            <a:cxnSpLocks/>
          </p:cNvCxnSpPr>
          <p:nvPr/>
        </p:nvCxnSpPr>
        <p:spPr>
          <a:xfrm flipH="1" flipV="1">
            <a:off x="7558639" y="2050742"/>
            <a:ext cx="3000695" cy="1029407"/>
          </a:xfrm>
          <a:prstGeom prst="straightConnector1">
            <a:avLst/>
          </a:prstGeom>
          <a:ln w="57150">
            <a:solidFill>
              <a:srgbClr val="FFC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" name="Rett pilkobling 14">
            <a:extLst>
              <a:ext uri="{FF2B5EF4-FFF2-40B4-BE49-F238E27FC236}">
                <a16:creationId xmlns:a16="http://schemas.microsoft.com/office/drawing/2014/main" id="{FF694125-4E94-7C8D-A512-4F559CAA41BB}"/>
              </a:ext>
            </a:extLst>
          </p:cNvPr>
          <p:cNvCxnSpPr>
            <a:cxnSpLocks/>
          </p:cNvCxnSpPr>
          <p:nvPr/>
        </p:nvCxnSpPr>
        <p:spPr>
          <a:xfrm flipH="1" flipV="1">
            <a:off x="9162361" y="2191476"/>
            <a:ext cx="1717242" cy="888673"/>
          </a:xfrm>
          <a:prstGeom prst="straightConnector1">
            <a:avLst/>
          </a:prstGeom>
          <a:ln w="57150">
            <a:solidFill>
              <a:srgbClr val="FFC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4" name="TekstSylinder 23">
            <a:extLst>
              <a:ext uri="{FF2B5EF4-FFF2-40B4-BE49-F238E27FC236}">
                <a16:creationId xmlns:a16="http://schemas.microsoft.com/office/drawing/2014/main" id="{F22E2C45-D7D9-1C6D-B71D-0F8979A999C4}"/>
              </a:ext>
            </a:extLst>
          </p:cNvPr>
          <p:cNvSpPr txBox="1"/>
          <p:nvPr/>
        </p:nvSpPr>
        <p:spPr>
          <a:xfrm>
            <a:off x="9627917" y="3098307"/>
            <a:ext cx="2330303" cy="646331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rengningsområde (Orange og gult)</a:t>
            </a:r>
          </a:p>
        </p:txBody>
      </p:sp>
    </p:spTree>
    <p:extLst>
      <p:ext uri="{BB962C8B-B14F-4D97-AF65-F5344CB8AC3E}">
        <p14:creationId xmlns:p14="http://schemas.microsoft.com/office/powerpoint/2010/main" val="12320511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2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ssholder for innhold 2">
            <a:extLst>
              <a:ext uri="{FF2B5EF4-FFF2-40B4-BE49-F238E27FC236}">
                <a16:creationId xmlns:a16="http://schemas.microsoft.com/office/drawing/2014/main" id="{C303A0DB-2DFD-4832-8AFA-E5E3634E629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32711" y="1683490"/>
            <a:ext cx="11373289" cy="5010343"/>
          </a:xfrm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4079530-51F2-4DDA-A8FB-57E5F9D283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C27C0E-69D6-2140-BAEC-594D114B0964}" type="slidenum">
              <a:rPr kumimoji="0" lang="nb-NO" sz="700" b="0" i="0" u="none" strike="noStrike" kern="1200" cap="none" spc="0" normalizeH="0" baseline="0" noProof="0" smtClean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nb-NO" sz="700" b="0" i="0" u="none" strike="noStrike" kern="1200" cap="none" spc="0" normalizeH="0" baseline="0" noProof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E9E1F48-A6B5-4A5C-88E9-F90ADE755A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0000" y="186549"/>
            <a:ext cx="2133597" cy="355276"/>
          </a:xfrm>
        </p:spPr>
        <p:txBody>
          <a:bodyPr/>
          <a:lstStyle/>
          <a:p>
            <a:r>
              <a:rPr lang="nb-NO"/>
              <a:t>Ny lufthavn i Mo i Rana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6CC6458-D61C-4F9D-B7EC-3B2893A26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548697"/>
            <a:ext cx="10877951" cy="581473"/>
          </a:xfrm>
        </p:spPr>
        <p:txBody>
          <a:bodyPr/>
          <a:lstStyle/>
          <a:p>
            <a:r>
              <a:rPr lang="nb-NO"/>
              <a:t>Faseinndeling pr. område Utomhus (U) (eks. U4 Bygg)</a:t>
            </a: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02EE4484-C8A7-4CB5-B69F-029C935BA4AA}"/>
              </a:ext>
            </a:extLst>
          </p:cNvPr>
          <p:cNvSpPr/>
          <p:nvPr/>
        </p:nvSpPr>
        <p:spPr>
          <a:xfrm>
            <a:off x="341619" y="3012734"/>
            <a:ext cx="5206481" cy="1651518"/>
          </a:xfrm>
          <a:prstGeom prst="rect">
            <a:avLst/>
          </a:prstGeom>
          <a:solidFill>
            <a:srgbClr val="FECB00">
              <a:alpha val="50000"/>
            </a:srgbClr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Område vest (V)</a:t>
            </a: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54C19E09-1B1B-44AB-A633-8B9E185253DD}"/>
              </a:ext>
            </a:extLst>
          </p:cNvPr>
          <p:cNvSpPr/>
          <p:nvPr/>
        </p:nvSpPr>
        <p:spPr>
          <a:xfrm>
            <a:off x="5533052" y="3012734"/>
            <a:ext cx="3349691" cy="1651518"/>
          </a:xfrm>
          <a:prstGeom prst="rect">
            <a:avLst/>
          </a:prstGeom>
          <a:solidFill>
            <a:schemeClr val="accent3">
              <a:alpha val="50000"/>
            </a:schemeClr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Område midt (M)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59C17B2A-E6AF-486F-AE50-2D1A5F92DE98}"/>
              </a:ext>
            </a:extLst>
          </p:cNvPr>
          <p:cNvSpPr/>
          <p:nvPr/>
        </p:nvSpPr>
        <p:spPr>
          <a:xfrm>
            <a:off x="8882743" y="3012734"/>
            <a:ext cx="3075257" cy="1651518"/>
          </a:xfrm>
          <a:prstGeom prst="rect">
            <a:avLst/>
          </a:prstGeom>
          <a:solidFill>
            <a:srgbClr val="7030A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Område øst (Ø)</a:t>
            </a: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EA88C80E-1533-4222-9412-ECC69FC9EBE8}"/>
              </a:ext>
            </a:extLst>
          </p:cNvPr>
          <p:cNvSpPr/>
          <p:nvPr/>
        </p:nvSpPr>
        <p:spPr>
          <a:xfrm>
            <a:off x="5383763" y="4664252"/>
            <a:ext cx="3498980" cy="861391"/>
          </a:xfrm>
          <a:prstGeom prst="rect">
            <a:avLst/>
          </a:prstGeom>
          <a:solidFill>
            <a:schemeClr val="accent5">
              <a:lumMod val="60000"/>
              <a:lumOff val="4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Område </a:t>
            </a: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Apron</a:t>
            </a: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 (A)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BDBA391B-2B5A-4157-82C2-19D492BB6B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91612" y="4986779"/>
            <a:ext cx="1792151" cy="750462"/>
          </a:xfrm>
          <a:prstGeom prst="rect">
            <a:avLst/>
          </a:prstGeom>
          <a:solidFill>
            <a:srgbClr val="404040">
              <a:alpha val="50000"/>
            </a:srgbClr>
          </a:solidFill>
        </p:spPr>
      </p:pic>
      <p:sp>
        <p:nvSpPr>
          <p:cNvPr id="30" name="Rektangel 29">
            <a:extLst>
              <a:ext uri="{FF2B5EF4-FFF2-40B4-BE49-F238E27FC236}">
                <a16:creationId xmlns:a16="http://schemas.microsoft.com/office/drawing/2014/main" id="{EA91D716-C618-4016-B9E0-DA3122D7F32C}"/>
              </a:ext>
            </a:extLst>
          </p:cNvPr>
          <p:cNvSpPr/>
          <p:nvPr/>
        </p:nvSpPr>
        <p:spPr>
          <a:xfrm>
            <a:off x="7277877" y="5281782"/>
            <a:ext cx="1511559" cy="226909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Område U4 Bygg (B)</a:t>
            </a: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4A99C2BC-106B-4161-AE8C-BE3FF51FC065}"/>
              </a:ext>
            </a:extLst>
          </p:cNvPr>
          <p:cNvSpPr/>
          <p:nvPr/>
        </p:nvSpPr>
        <p:spPr>
          <a:xfrm>
            <a:off x="6687824" y="5525643"/>
            <a:ext cx="2194919" cy="634482"/>
          </a:xfrm>
          <a:prstGeom prst="rect">
            <a:avLst/>
          </a:prstGeom>
          <a:solidFill>
            <a:srgbClr val="FFFF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Område parkering (P)</a:t>
            </a:r>
          </a:p>
        </p:txBody>
      </p:sp>
      <p:sp>
        <p:nvSpPr>
          <p:cNvPr id="22" name="Rektangel 21">
            <a:extLst>
              <a:ext uri="{FF2B5EF4-FFF2-40B4-BE49-F238E27FC236}">
                <a16:creationId xmlns:a16="http://schemas.microsoft.com/office/drawing/2014/main" id="{A323B621-0301-45B6-B7A7-96F0A740D362}"/>
              </a:ext>
            </a:extLst>
          </p:cNvPr>
          <p:cNvSpPr/>
          <p:nvPr/>
        </p:nvSpPr>
        <p:spPr>
          <a:xfrm>
            <a:off x="3766657" y="5514392"/>
            <a:ext cx="2986481" cy="987076"/>
          </a:xfrm>
          <a:prstGeom prst="rect">
            <a:avLst/>
          </a:prstGeom>
          <a:solidFill>
            <a:srgbClr val="92D050">
              <a:alpha val="5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Område tilkomstveger (T)</a:t>
            </a:r>
          </a:p>
        </p:txBody>
      </p:sp>
    </p:spTree>
    <p:extLst>
      <p:ext uri="{BB962C8B-B14F-4D97-AF65-F5344CB8AC3E}">
        <p14:creationId xmlns:p14="http://schemas.microsoft.com/office/powerpoint/2010/main" val="291014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10" grpId="0" animBg="1"/>
      <p:bldP spid="17" grpId="0" animBg="1"/>
      <p:bldP spid="30" grpId="0" animBg="1"/>
      <p:bldP spid="21" grpId="0" animBg="1"/>
      <p:bldP spid="22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DD203398-D659-4CD0-A95D-BD99088AD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3200">
                <a:solidFill>
                  <a:srgbClr val="84236B"/>
                </a:solidFill>
                <a:latin typeface="Arial"/>
                <a:ea typeface="+mj-ea"/>
                <a:cs typeface="Arial"/>
              </a:rPr>
              <a:t>ENMR – Mo i Rana </a:t>
            </a:r>
            <a:r>
              <a:rPr lang="sv-SE" sz="3200" err="1">
                <a:solidFill>
                  <a:srgbClr val="84236B"/>
                </a:solidFill>
                <a:latin typeface="Arial"/>
                <a:ea typeface="+mj-ea"/>
                <a:cs typeface="Arial"/>
              </a:rPr>
              <a:t>lufthavn</a:t>
            </a:r>
            <a:r>
              <a:rPr lang="sv-SE" sz="3200">
                <a:solidFill>
                  <a:srgbClr val="84236B"/>
                </a:solidFill>
                <a:latin typeface="Arial"/>
                <a:ea typeface="+mj-ea"/>
                <a:cs typeface="Arial"/>
              </a:rPr>
              <a:t>, </a:t>
            </a:r>
            <a:r>
              <a:rPr lang="sv-SE" sz="3200" err="1">
                <a:solidFill>
                  <a:srgbClr val="84236B"/>
                </a:solidFill>
                <a:latin typeface="Arial"/>
                <a:ea typeface="+mj-ea"/>
                <a:cs typeface="Arial"/>
              </a:rPr>
              <a:t>Fagerlia</a:t>
            </a:r>
            <a:endParaRPr lang="nb-NO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A0491A5C-D8EE-45DA-9516-9CAC6CA275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/>
              <a:t>Planlagte </a:t>
            </a:r>
            <a:r>
              <a:rPr lang="nb-NO" err="1"/>
              <a:t>oppstartsaktiviteter</a:t>
            </a:r>
            <a:r>
              <a:rPr lang="nb-NO"/>
              <a:t> sommeren 2023</a:t>
            </a:r>
          </a:p>
          <a:p>
            <a:pPr lvl="1"/>
            <a:r>
              <a:rPr lang="nb-NO"/>
              <a:t>Oppgaver som er ansett som nødvendige å gjennomføre i sommer for å tilrettelegge for videre utbygging av lufthavnen.</a:t>
            </a:r>
          </a:p>
        </p:txBody>
      </p:sp>
    </p:spTree>
    <p:extLst>
      <p:ext uri="{BB962C8B-B14F-4D97-AF65-F5344CB8AC3E}">
        <p14:creationId xmlns:p14="http://schemas.microsoft.com/office/powerpoint/2010/main" val="39729584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ktangel 41">
            <a:extLst>
              <a:ext uri="{FF2B5EF4-FFF2-40B4-BE49-F238E27FC236}">
                <a16:creationId xmlns:a16="http://schemas.microsoft.com/office/drawing/2014/main" id="{CDBF530A-C4DD-4B45-985B-E8204807D8F8}"/>
              </a:ext>
            </a:extLst>
          </p:cNvPr>
          <p:cNvSpPr/>
          <p:nvPr/>
        </p:nvSpPr>
        <p:spPr>
          <a:xfrm rot="21004145">
            <a:off x="3708242" y="3523781"/>
            <a:ext cx="1385956" cy="769177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ylling vegetasjon og løsmasser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3840F5B-1E0A-4844-85E6-75B244F0FF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7675" y="1041400"/>
            <a:ext cx="9144000" cy="2387600"/>
          </a:xfrm>
          <a:effectLst/>
        </p:spPr>
        <p:txBody>
          <a:bodyPr>
            <a:normAutofit/>
          </a:bodyPr>
          <a:lstStyle/>
          <a:p>
            <a:endParaRPr lang="nb-NO" sz="480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93E8916E-F5C0-46B6-89CF-925047B9C9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675" y="3521075"/>
            <a:ext cx="9144000" cy="1655762"/>
          </a:xfrm>
          <a:effectLst/>
        </p:spPr>
        <p:txBody>
          <a:bodyPr>
            <a:normAutofit/>
          </a:bodyPr>
          <a:lstStyle/>
          <a:p>
            <a:endParaRPr lang="nb-NO" sz="1800"/>
          </a:p>
        </p:txBody>
      </p:sp>
      <p:pic>
        <p:nvPicPr>
          <p:cNvPr id="7" name="Bilde 6" descr="Et bilde som inneholder kart&#10;&#10;Automatisk generert beskrivelse">
            <a:extLst>
              <a:ext uri="{FF2B5EF4-FFF2-40B4-BE49-F238E27FC236}">
                <a16:creationId xmlns:a16="http://schemas.microsoft.com/office/drawing/2014/main" id="{ECE5CF28-43DE-4448-BD52-3AB2ABBE7C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69" y="7666"/>
            <a:ext cx="11840661" cy="6858000"/>
          </a:xfrm>
          <a:prstGeom prst="rect">
            <a:avLst/>
          </a:prstGeom>
          <a:effectLst/>
        </p:spPr>
      </p:pic>
      <p:sp>
        <p:nvSpPr>
          <p:cNvPr id="6" name="Pil: høyre 5">
            <a:extLst>
              <a:ext uri="{FF2B5EF4-FFF2-40B4-BE49-F238E27FC236}">
                <a16:creationId xmlns:a16="http://schemas.microsoft.com/office/drawing/2014/main" id="{0578B6CC-DC28-426F-B563-001274BDE25F}"/>
              </a:ext>
            </a:extLst>
          </p:cNvPr>
          <p:cNvSpPr/>
          <p:nvPr/>
        </p:nvSpPr>
        <p:spPr>
          <a:xfrm rot="20929449">
            <a:off x="6503142" y="1932610"/>
            <a:ext cx="1678680" cy="1044810"/>
          </a:xfrm>
          <a:prstGeom prst="right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jerning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getasj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9" name="Gruppe 18">
            <a:extLst>
              <a:ext uri="{FF2B5EF4-FFF2-40B4-BE49-F238E27FC236}">
                <a16:creationId xmlns:a16="http://schemas.microsoft.com/office/drawing/2014/main" id="{4F0D5C0A-D43B-4393-9904-E1904179F172}"/>
              </a:ext>
            </a:extLst>
          </p:cNvPr>
          <p:cNvGrpSpPr/>
          <p:nvPr/>
        </p:nvGrpSpPr>
        <p:grpSpPr>
          <a:xfrm>
            <a:off x="349434" y="2237209"/>
            <a:ext cx="6096000" cy="2291477"/>
            <a:chOff x="336552" y="2294858"/>
            <a:chExt cx="6096000" cy="2291477"/>
          </a:xfrm>
        </p:grpSpPr>
        <p:sp>
          <p:nvSpPr>
            <p:cNvPr id="20" name="Frihåndsform: figur 19">
              <a:extLst>
                <a:ext uri="{FF2B5EF4-FFF2-40B4-BE49-F238E27FC236}">
                  <a16:creationId xmlns:a16="http://schemas.microsoft.com/office/drawing/2014/main" id="{9477CE0C-2132-47C1-89C2-90E254D0624C}"/>
                </a:ext>
              </a:extLst>
            </p:cNvPr>
            <p:cNvSpPr/>
            <p:nvPr/>
          </p:nvSpPr>
          <p:spPr>
            <a:xfrm>
              <a:off x="391518" y="3003259"/>
              <a:ext cx="3133548" cy="1583076"/>
            </a:xfrm>
            <a:custGeom>
              <a:avLst/>
              <a:gdLst>
                <a:gd name="connsiteX0" fmla="*/ 4549598 w 4549598"/>
                <a:gd name="connsiteY0" fmla="*/ 1073791 h 1589483"/>
                <a:gd name="connsiteX1" fmla="*/ 4063036 w 4549598"/>
                <a:gd name="connsiteY1" fmla="*/ 1090569 h 1589483"/>
                <a:gd name="connsiteX2" fmla="*/ 2242625 w 4549598"/>
                <a:gd name="connsiteY2" fmla="*/ 1442906 h 1589483"/>
                <a:gd name="connsiteX3" fmla="*/ 430603 w 4549598"/>
                <a:gd name="connsiteY3" fmla="*/ 1543574 h 1589483"/>
                <a:gd name="connsiteX4" fmla="*/ 11154 w 4549598"/>
                <a:gd name="connsiteY4" fmla="*/ 721453 h 1589483"/>
                <a:gd name="connsiteX5" fmla="*/ 162155 w 4549598"/>
                <a:gd name="connsiteY5" fmla="*/ 0 h 1589483"/>
                <a:gd name="connsiteX0" fmla="*/ 4549598 w 4549598"/>
                <a:gd name="connsiteY0" fmla="*/ 1073791 h 1584445"/>
                <a:gd name="connsiteX1" fmla="*/ 2939086 w 4549598"/>
                <a:gd name="connsiteY1" fmla="*/ 1293769 h 1584445"/>
                <a:gd name="connsiteX2" fmla="*/ 2242625 w 4549598"/>
                <a:gd name="connsiteY2" fmla="*/ 1442906 h 1584445"/>
                <a:gd name="connsiteX3" fmla="*/ 430603 w 4549598"/>
                <a:gd name="connsiteY3" fmla="*/ 1543574 h 1584445"/>
                <a:gd name="connsiteX4" fmla="*/ 11154 w 4549598"/>
                <a:gd name="connsiteY4" fmla="*/ 721453 h 1584445"/>
                <a:gd name="connsiteX5" fmla="*/ 162155 w 4549598"/>
                <a:gd name="connsiteY5" fmla="*/ 0 h 1584445"/>
                <a:gd name="connsiteX0" fmla="*/ 3368498 w 3368498"/>
                <a:gd name="connsiteY0" fmla="*/ 1511941 h 1584445"/>
                <a:gd name="connsiteX1" fmla="*/ 2939086 w 3368498"/>
                <a:gd name="connsiteY1" fmla="*/ 1293769 h 1584445"/>
                <a:gd name="connsiteX2" fmla="*/ 2242625 w 3368498"/>
                <a:gd name="connsiteY2" fmla="*/ 1442906 h 1584445"/>
                <a:gd name="connsiteX3" fmla="*/ 430603 w 3368498"/>
                <a:gd name="connsiteY3" fmla="*/ 1543574 h 1584445"/>
                <a:gd name="connsiteX4" fmla="*/ 11154 w 3368498"/>
                <a:gd name="connsiteY4" fmla="*/ 721453 h 1584445"/>
                <a:gd name="connsiteX5" fmla="*/ 162155 w 3368498"/>
                <a:gd name="connsiteY5" fmla="*/ 0 h 1584445"/>
                <a:gd name="connsiteX0" fmla="*/ 3133548 w 3133548"/>
                <a:gd name="connsiteY0" fmla="*/ 1524641 h 1584445"/>
                <a:gd name="connsiteX1" fmla="*/ 2939086 w 3133548"/>
                <a:gd name="connsiteY1" fmla="*/ 1293769 h 1584445"/>
                <a:gd name="connsiteX2" fmla="*/ 2242625 w 3133548"/>
                <a:gd name="connsiteY2" fmla="*/ 1442906 h 1584445"/>
                <a:gd name="connsiteX3" fmla="*/ 430603 w 3133548"/>
                <a:gd name="connsiteY3" fmla="*/ 1543574 h 1584445"/>
                <a:gd name="connsiteX4" fmla="*/ 11154 w 3133548"/>
                <a:gd name="connsiteY4" fmla="*/ 721453 h 1584445"/>
                <a:gd name="connsiteX5" fmla="*/ 162155 w 3133548"/>
                <a:gd name="connsiteY5" fmla="*/ 0 h 1584445"/>
                <a:gd name="connsiteX0" fmla="*/ 3133548 w 3133548"/>
                <a:gd name="connsiteY0" fmla="*/ 1524641 h 1583076"/>
                <a:gd name="connsiteX1" fmla="*/ 2939086 w 3133548"/>
                <a:gd name="connsiteY1" fmla="*/ 1293769 h 1583076"/>
                <a:gd name="connsiteX2" fmla="*/ 2052125 w 3133548"/>
                <a:gd name="connsiteY2" fmla="*/ 1436556 h 1583076"/>
                <a:gd name="connsiteX3" fmla="*/ 430603 w 3133548"/>
                <a:gd name="connsiteY3" fmla="*/ 1543574 h 1583076"/>
                <a:gd name="connsiteX4" fmla="*/ 11154 w 3133548"/>
                <a:gd name="connsiteY4" fmla="*/ 721453 h 1583076"/>
                <a:gd name="connsiteX5" fmla="*/ 162155 w 3133548"/>
                <a:gd name="connsiteY5" fmla="*/ 0 h 158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33548" h="1583076">
                  <a:moveTo>
                    <a:pt x="3133548" y="1524641"/>
                  </a:moveTo>
                  <a:cubicBezTo>
                    <a:pt x="3082514" y="1502270"/>
                    <a:pt x="3119323" y="1308450"/>
                    <a:pt x="2939086" y="1293769"/>
                  </a:cubicBezTo>
                  <a:cubicBezTo>
                    <a:pt x="2758849" y="1279088"/>
                    <a:pt x="2470205" y="1394922"/>
                    <a:pt x="2052125" y="1436556"/>
                  </a:cubicBezTo>
                  <a:cubicBezTo>
                    <a:pt x="1634045" y="1478190"/>
                    <a:pt x="770765" y="1662758"/>
                    <a:pt x="430603" y="1543574"/>
                  </a:cubicBezTo>
                  <a:cubicBezTo>
                    <a:pt x="90441" y="1424390"/>
                    <a:pt x="55895" y="978715"/>
                    <a:pt x="11154" y="721453"/>
                  </a:cubicBezTo>
                  <a:cubicBezTo>
                    <a:pt x="-33587" y="464191"/>
                    <a:pt x="64284" y="232095"/>
                    <a:pt x="162155" y="0"/>
                  </a:cubicBezTo>
                </a:path>
              </a:pathLst>
            </a:custGeom>
            <a:noFill/>
            <a:ln w="114300" cap="rnd">
              <a:solidFill>
                <a:srgbClr val="004AF0"/>
              </a:solidFill>
              <a:tailEnd type="triangle" w="sm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TekstSylinder 20">
              <a:extLst>
                <a:ext uri="{FF2B5EF4-FFF2-40B4-BE49-F238E27FC236}">
                  <a16:creationId xmlns:a16="http://schemas.microsoft.com/office/drawing/2014/main" id="{D567FD9F-19A5-4228-82A1-24F27AD965FA}"/>
                </a:ext>
              </a:extLst>
            </p:cNvPr>
            <p:cNvSpPr txBox="1"/>
            <p:nvPr/>
          </p:nvSpPr>
          <p:spPr>
            <a:xfrm rot="21080031">
              <a:off x="336552" y="2294858"/>
              <a:ext cx="60960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800" b="0" i="0" u="none" strike="noStrike" kern="1200" cap="none" spc="0" normalizeH="0" baseline="0" noProof="0">
                  <a:ln>
                    <a:noFill/>
                  </a:ln>
                  <a:solidFill>
                    <a:srgbClr val="004AF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tablering og drift pumpeledning utslipp Ranaelva</a:t>
              </a:r>
            </a:p>
          </p:txBody>
        </p:sp>
      </p:grpSp>
      <p:sp>
        <p:nvSpPr>
          <p:cNvPr id="24" name="Rektangel 23">
            <a:extLst>
              <a:ext uri="{FF2B5EF4-FFF2-40B4-BE49-F238E27FC236}">
                <a16:creationId xmlns:a16="http://schemas.microsoft.com/office/drawing/2014/main" id="{DC3B8C00-E5F8-4563-9704-CE59E1E99CB7}"/>
              </a:ext>
            </a:extLst>
          </p:cNvPr>
          <p:cNvSpPr/>
          <p:nvPr/>
        </p:nvSpPr>
        <p:spPr>
          <a:xfrm rot="21122475">
            <a:off x="3470530" y="4197227"/>
            <a:ext cx="616960" cy="4776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nse-anlegg</a:t>
            </a:r>
          </a:p>
        </p:txBody>
      </p:sp>
      <p:sp>
        <p:nvSpPr>
          <p:cNvPr id="8" name="Pil: høyre 7">
            <a:extLst>
              <a:ext uri="{FF2B5EF4-FFF2-40B4-BE49-F238E27FC236}">
                <a16:creationId xmlns:a16="http://schemas.microsoft.com/office/drawing/2014/main" id="{B42E4236-ED78-4A81-BEE1-9141B3299407}"/>
              </a:ext>
            </a:extLst>
          </p:cNvPr>
          <p:cNvSpPr/>
          <p:nvPr/>
        </p:nvSpPr>
        <p:spPr>
          <a:xfrm rot="20951394">
            <a:off x="6456910" y="2212000"/>
            <a:ext cx="958364" cy="927332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tak stein</a:t>
            </a:r>
          </a:p>
        </p:txBody>
      </p:sp>
      <p:sp>
        <p:nvSpPr>
          <p:cNvPr id="37" name="TekstSylinder 36">
            <a:extLst>
              <a:ext uri="{FF2B5EF4-FFF2-40B4-BE49-F238E27FC236}">
                <a16:creationId xmlns:a16="http://schemas.microsoft.com/office/drawing/2014/main" id="{418C0464-F1AA-49E8-8F19-26735270D1DB}"/>
              </a:ext>
            </a:extLst>
          </p:cNvPr>
          <p:cNvSpPr txBox="1"/>
          <p:nvPr/>
        </p:nvSpPr>
        <p:spPr>
          <a:xfrm>
            <a:off x="5253741" y="4436055"/>
            <a:ext cx="2952846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4A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ablering og drift selvfall/pumpeledning</a:t>
            </a:r>
          </a:p>
        </p:txBody>
      </p:sp>
      <p:sp>
        <p:nvSpPr>
          <p:cNvPr id="39" name="Rektangel 38">
            <a:extLst>
              <a:ext uri="{FF2B5EF4-FFF2-40B4-BE49-F238E27FC236}">
                <a16:creationId xmlns:a16="http://schemas.microsoft.com/office/drawing/2014/main" id="{26B636B7-B007-477C-B201-8A8F1A888F6C}"/>
              </a:ext>
            </a:extLst>
          </p:cNvPr>
          <p:cNvSpPr/>
          <p:nvPr/>
        </p:nvSpPr>
        <p:spPr>
          <a:xfrm rot="20982737">
            <a:off x="6076037" y="3363362"/>
            <a:ext cx="1572496" cy="428614"/>
          </a:xfrm>
          <a:prstGeom prst="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jerning vegetasjon, myr og løsmasser</a:t>
            </a:r>
          </a:p>
        </p:txBody>
      </p:sp>
      <p:sp>
        <p:nvSpPr>
          <p:cNvPr id="43" name="TekstSylinder 42">
            <a:extLst>
              <a:ext uri="{FF2B5EF4-FFF2-40B4-BE49-F238E27FC236}">
                <a16:creationId xmlns:a16="http://schemas.microsoft.com/office/drawing/2014/main" id="{18B61AF2-CC2C-4C3C-B30A-A6892BC5865B}"/>
              </a:ext>
            </a:extLst>
          </p:cNvPr>
          <p:cNvSpPr txBox="1"/>
          <p:nvPr/>
        </p:nvSpPr>
        <p:spPr>
          <a:xfrm>
            <a:off x="514349" y="219074"/>
            <a:ext cx="3436866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psummering av aktiviteter sommeren </a:t>
            </a:r>
            <a:r>
              <a:rPr lang="nb-NO" b="1" dirty="0">
                <a:latin typeface="Calibri" panose="020F0502020204030204"/>
              </a:rPr>
              <a:t>2023</a:t>
            </a: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Rektangel 45">
            <a:extLst>
              <a:ext uri="{FF2B5EF4-FFF2-40B4-BE49-F238E27FC236}">
                <a16:creationId xmlns:a16="http://schemas.microsoft.com/office/drawing/2014/main" id="{29BFF2A5-EB37-4A1C-A84C-C43359BD2D57}"/>
              </a:ext>
            </a:extLst>
          </p:cNvPr>
          <p:cNvSpPr/>
          <p:nvPr/>
        </p:nvSpPr>
        <p:spPr>
          <a:xfrm rot="20836828">
            <a:off x="4306361" y="4364284"/>
            <a:ext cx="909015" cy="389694"/>
          </a:xfrm>
          <a:prstGeom prst="rect">
            <a:avLst/>
          </a:prstGeom>
          <a:solidFill>
            <a:srgbClr val="FFFF00">
              <a:alpha val="68000"/>
            </a:srgbClr>
          </a:solidFill>
          <a:ln>
            <a:solidFill>
              <a:schemeClr val="accent1">
                <a:shade val="50000"/>
                <a:alpha val="4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gg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B0CDECF9-6893-4C12-ACA2-5F54C3C9A510}"/>
              </a:ext>
            </a:extLst>
          </p:cNvPr>
          <p:cNvSpPr/>
          <p:nvPr/>
        </p:nvSpPr>
        <p:spPr>
          <a:xfrm rot="20941478">
            <a:off x="1196352" y="3785363"/>
            <a:ext cx="3437766" cy="349956"/>
          </a:xfrm>
          <a:prstGeom prst="rect">
            <a:avLst/>
          </a:prstGeom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ylling vegetasjon, myr og løsmasser </a:t>
            </a: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0D06BAAB-C66F-C15E-F7F8-40D0904B2515}"/>
              </a:ext>
            </a:extLst>
          </p:cNvPr>
          <p:cNvSpPr/>
          <p:nvPr/>
        </p:nvSpPr>
        <p:spPr>
          <a:xfrm rot="20941478">
            <a:off x="1644624" y="2858709"/>
            <a:ext cx="2395360" cy="261862"/>
          </a:xfrm>
          <a:prstGeom prst="rect">
            <a:avLst/>
          </a:prstGeom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ylling vegetasjon, myr og løsmasser </a:t>
            </a: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4E71B3DA-7D69-C5CC-D518-36B50C2469A2}"/>
              </a:ext>
            </a:extLst>
          </p:cNvPr>
          <p:cNvSpPr/>
          <p:nvPr/>
        </p:nvSpPr>
        <p:spPr>
          <a:xfrm rot="20943884">
            <a:off x="7564553" y="2558525"/>
            <a:ext cx="1896191" cy="259509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ylling vegetasjon og løsmasser</a:t>
            </a:r>
          </a:p>
        </p:txBody>
      </p:sp>
      <p:sp>
        <p:nvSpPr>
          <p:cNvPr id="15" name="Pil: venstre 14">
            <a:extLst>
              <a:ext uri="{FF2B5EF4-FFF2-40B4-BE49-F238E27FC236}">
                <a16:creationId xmlns:a16="http://schemas.microsoft.com/office/drawing/2014/main" id="{38A6BD69-645E-A6FF-B80D-922BBD51E04F}"/>
              </a:ext>
            </a:extLst>
          </p:cNvPr>
          <p:cNvSpPr/>
          <p:nvPr/>
        </p:nvSpPr>
        <p:spPr>
          <a:xfrm rot="11903738">
            <a:off x="7957976" y="2479295"/>
            <a:ext cx="497222" cy="133829"/>
          </a:xfrm>
          <a:prstGeom prst="leftArrow">
            <a:avLst>
              <a:gd name="adj1" fmla="val 50000"/>
              <a:gd name="adj2" fmla="val 119578"/>
            </a:avLst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 w="22225">
                <a:solidFill>
                  <a:prstClr val="black"/>
                </a:solidFill>
                <a:prstDash val="solid"/>
              </a:ln>
              <a:solidFill>
                <a:srgbClr val="ED7D31">
                  <a:lumMod val="40000"/>
                  <a:lumOff val="6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Pil: venstre 11">
            <a:extLst>
              <a:ext uri="{FF2B5EF4-FFF2-40B4-BE49-F238E27FC236}">
                <a16:creationId xmlns:a16="http://schemas.microsoft.com/office/drawing/2014/main" id="{7FF24C7C-83FB-D249-F35B-2B8657B22A91}"/>
              </a:ext>
            </a:extLst>
          </p:cNvPr>
          <p:cNvSpPr/>
          <p:nvPr/>
        </p:nvSpPr>
        <p:spPr>
          <a:xfrm rot="20938263">
            <a:off x="1134280" y="3040946"/>
            <a:ext cx="2039472" cy="1042593"/>
          </a:xfrm>
          <a:prstGeom prst="leftArrow">
            <a:avLst>
              <a:gd name="adj1" fmla="val 50000"/>
              <a:gd name="adj2" fmla="val 52922"/>
            </a:avLst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jerning vegetasjon, myr og løsmasser</a:t>
            </a:r>
          </a:p>
        </p:txBody>
      </p:sp>
      <p:sp>
        <p:nvSpPr>
          <p:cNvPr id="22" name="Pil: venstre 21">
            <a:extLst>
              <a:ext uri="{FF2B5EF4-FFF2-40B4-BE49-F238E27FC236}">
                <a16:creationId xmlns:a16="http://schemas.microsoft.com/office/drawing/2014/main" id="{199FA7D6-2595-4D7E-B6DB-6C6C471044E2}"/>
              </a:ext>
            </a:extLst>
          </p:cNvPr>
          <p:cNvSpPr/>
          <p:nvPr/>
        </p:nvSpPr>
        <p:spPr>
          <a:xfrm rot="20938263">
            <a:off x="2447901" y="2877197"/>
            <a:ext cx="1923144" cy="1042593"/>
          </a:xfrm>
          <a:prstGeom prst="leftArrow">
            <a:avLst>
              <a:gd name="adj1" fmla="val 50000"/>
              <a:gd name="adj2" fmla="val 52922"/>
            </a:avLst>
          </a:prstGeom>
          <a:solidFill>
            <a:srgbClr val="ED7D31"/>
          </a:solidFill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tak stein</a:t>
            </a:r>
          </a:p>
        </p:txBody>
      </p:sp>
      <p:sp>
        <p:nvSpPr>
          <p:cNvPr id="17" name="Pil: venstre 16">
            <a:extLst>
              <a:ext uri="{FF2B5EF4-FFF2-40B4-BE49-F238E27FC236}">
                <a16:creationId xmlns:a16="http://schemas.microsoft.com/office/drawing/2014/main" id="{6428FB6D-B715-D0C9-66CC-6BADCD430FAF}"/>
              </a:ext>
            </a:extLst>
          </p:cNvPr>
          <p:cNvSpPr/>
          <p:nvPr/>
        </p:nvSpPr>
        <p:spPr>
          <a:xfrm rot="7656718">
            <a:off x="1468826" y="3258681"/>
            <a:ext cx="289496" cy="78210"/>
          </a:xfrm>
          <a:prstGeom prst="leftArrow">
            <a:avLst>
              <a:gd name="adj1" fmla="val 50000"/>
              <a:gd name="adj2" fmla="val 119578"/>
            </a:avLst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 w="22225">
                <a:solidFill>
                  <a:prstClr val="black"/>
                </a:solidFill>
                <a:prstDash val="solid"/>
              </a:ln>
              <a:solidFill>
                <a:srgbClr val="ED7D31">
                  <a:lumMod val="40000"/>
                  <a:lumOff val="6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Pil: venstre 15">
            <a:extLst>
              <a:ext uri="{FF2B5EF4-FFF2-40B4-BE49-F238E27FC236}">
                <a16:creationId xmlns:a16="http://schemas.microsoft.com/office/drawing/2014/main" id="{39F9B342-DBF3-7273-BEA9-4F8379AFB845}"/>
              </a:ext>
            </a:extLst>
          </p:cNvPr>
          <p:cNvSpPr/>
          <p:nvPr/>
        </p:nvSpPr>
        <p:spPr>
          <a:xfrm rot="16612049">
            <a:off x="1185284" y="4026606"/>
            <a:ext cx="448248" cy="90958"/>
          </a:xfrm>
          <a:prstGeom prst="leftArrow">
            <a:avLst>
              <a:gd name="adj1" fmla="val 50000"/>
              <a:gd name="adj2" fmla="val 119578"/>
            </a:avLst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 w="22225">
                <a:solidFill>
                  <a:prstClr val="black"/>
                </a:solidFill>
                <a:prstDash val="solid"/>
              </a:ln>
              <a:solidFill>
                <a:srgbClr val="ED7D31">
                  <a:lumMod val="40000"/>
                  <a:lumOff val="6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D09BBFA8-55C6-DCDD-2629-BA84BDB99F2F}"/>
              </a:ext>
            </a:extLst>
          </p:cNvPr>
          <p:cNvSpPr/>
          <p:nvPr/>
        </p:nvSpPr>
        <p:spPr>
          <a:xfrm rot="20943884">
            <a:off x="5964801" y="4130307"/>
            <a:ext cx="1896191" cy="259509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ylling vegetasjon og løsmasser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9E78338D-EC8A-7249-3D11-F1B8873C93E3}"/>
              </a:ext>
            </a:extLst>
          </p:cNvPr>
          <p:cNvSpPr/>
          <p:nvPr/>
        </p:nvSpPr>
        <p:spPr>
          <a:xfrm rot="20932071">
            <a:off x="7784356" y="2732506"/>
            <a:ext cx="2209799" cy="166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skjærende grøft</a:t>
            </a:r>
          </a:p>
        </p:txBody>
      </p:sp>
      <p:sp>
        <p:nvSpPr>
          <p:cNvPr id="27" name="Rektangel 26">
            <a:extLst>
              <a:ext uri="{FF2B5EF4-FFF2-40B4-BE49-F238E27FC236}">
                <a16:creationId xmlns:a16="http://schemas.microsoft.com/office/drawing/2014/main" id="{16BA3691-DD98-C7E2-97B6-6746476A0288}"/>
              </a:ext>
            </a:extLst>
          </p:cNvPr>
          <p:cNvSpPr/>
          <p:nvPr/>
        </p:nvSpPr>
        <p:spPr>
          <a:xfrm>
            <a:off x="5665131" y="3969110"/>
            <a:ext cx="221311" cy="1457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693FC668-AC87-914E-D946-03A0C3E9BFBE}"/>
              </a:ext>
            </a:extLst>
          </p:cNvPr>
          <p:cNvSpPr/>
          <p:nvPr/>
        </p:nvSpPr>
        <p:spPr>
          <a:xfrm rot="21122475">
            <a:off x="5258663" y="3345261"/>
            <a:ext cx="226031" cy="1609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AF94DD3F-E2E1-EB82-6017-F7111A3280C8}"/>
              </a:ext>
            </a:extLst>
          </p:cNvPr>
          <p:cNvSpPr/>
          <p:nvPr/>
        </p:nvSpPr>
        <p:spPr>
          <a:xfrm rot="17663075">
            <a:off x="3769927" y="4405500"/>
            <a:ext cx="261067" cy="1567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56250F85-942B-C89E-A3CE-9C06E5EB8DA9}"/>
              </a:ext>
            </a:extLst>
          </p:cNvPr>
          <p:cNvSpPr/>
          <p:nvPr/>
        </p:nvSpPr>
        <p:spPr>
          <a:xfrm rot="17205008">
            <a:off x="3429120" y="4111607"/>
            <a:ext cx="239430" cy="1651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</a:p>
        </p:txBody>
      </p:sp>
      <p:sp>
        <p:nvSpPr>
          <p:cNvPr id="32" name="Frihåndsform: figur 31">
            <a:extLst>
              <a:ext uri="{FF2B5EF4-FFF2-40B4-BE49-F238E27FC236}">
                <a16:creationId xmlns:a16="http://schemas.microsoft.com/office/drawing/2014/main" id="{A1D80C5D-D790-5D36-4788-179BA4E5173B}"/>
              </a:ext>
            </a:extLst>
          </p:cNvPr>
          <p:cNvSpPr/>
          <p:nvPr/>
        </p:nvSpPr>
        <p:spPr>
          <a:xfrm>
            <a:off x="3891656" y="3246078"/>
            <a:ext cx="4190999" cy="1695450"/>
          </a:xfrm>
          <a:custGeom>
            <a:avLst/>
            <a:gdLst>
              <a:gd name="connsiteX0" fmla="*/ 4233862 w 4233862"/>
              <a:gd name="connsiteY0" fmla="*/ 6732 h 1649794"/>
              <a:gd name="connsiteX1" fmla="*/ 3976687 w 4233862"/>
              <a:gd name="connsiteY1" fmla="*/ 106744 h 1649794"/>
              <a:gd name="connsiteX2" fmla="*/ 4019550 w 4233862"/>
              <a:gd name="connsiteY2" fmla="*/ 744919 h 1649794"/>
              <a:gd name="connsiteX3" fmla="*/ 3438525 w 4233862"/>
              <a:gd name="connsiteY3" fmla="*/ 1111632 h 1649794"/>
              <a:gd name="connsiteX4" fmla="*/ 1423987 w 4233862"/>
              <a:gd name="connsiteY4" fmla="*/ 1144969 h 1649794"/>
              <a:gd name="connsiteX5" fmla="*/ 671512 w 4233862"/>
              <a:gd name="connsiteY5" fmla="*/ 1125919 h 1649794"/>
              <a:gd name="connsiteX6" fmla="*/ 147637 w 4233862"/>
              <a:gd name="connsiteY6" fmla="*/ 1264032 h 1649794"/>
              <a:gd name="connsiteX7" fmla="*/ 0 w 4233862"/>
              <a:gd name="connsiteY7" fmla="*/ 1649794 h 1649794"/>
              <a:gd name="connsiteX0" fmla="*/ 4233862 w 4233862"/>
              <a:gd name="connsiteY0" fmla="*/ 15609 h 1625333"/>
              <a:gd name="connsiteX1" fmla="*/ 3976687 w 4233862"/>
              <a:gd name="connsiteY1" fmla="*/ 82283 h 1625333"/>
              <a:gd name="connsiteX2" fmla="*/ 4019550 w 4233862"/>
              <a:gd name="connsiteY2" fmla="*/ 720458 h 1625333"/>
              <a:gd name="connsiteX3" fmla="*/ 3438525 w 4233862"/>
              <a:gd name="connsiteY3" fmla="*/ 1087171 h 1625333"/>
              <a:gd name="connsiteX4" fmla="*/ 1423987 w 4233862"/>
              <a:gd name="connsiteY4" fmla="*/ 1120508 h 1625333"/>
              <a:gd name="connsiteX5" fmla="*/ 671512 w 4233862"/>
              <a:gd name="connsiteY5" fmla="*/ 1101458 h 1625333"/>
              <a:gd name="connsiteX6" fmla="*/ 147637 w 4233862"/>
              <a:gd name="connsiteY6" fmla="*/ 1239571 h 1625333"/>
              <a:gd name="connsiteX7" fmla="*/ 0 w 4233862"/>
              <a:gd name="connsiteY7" fmla="*/ 1625333 h 1625333"/>
              <a:gd name="connsiteX0" fmla="*/ 4233862 w 4233862"/>
              <a:gd name="connsiteY0" fmla="*/ 58899 h 1668623"/>
              <a:gd name="connsiteX1" fmla="*/ 3976687 w 4233862"/>
              <a:gd name="connsiteY1" fmla="*/ 125573 h 1668623"/>
              <a:gd name="connsiteX2" fmla="*/ 4019550 w 4233862"/>
              <a:gd name="connsiteY2" fmla="*/ 763748 h 1668623"/>
              <a:gd name="connsiteX3" fmla="*/ 3438525 w 4233862"/>
              <a:gd name="connsiteY3" fmla="*/ 1130461 h 1668623"/>
              <a:gd name="connsiteX4" fmla="*/ 1423987 w 4233862"/>
              <a:gd name="connsiteY4" fmla="*/ 1163798 h 1668623"/>
              <a:gd name="connsiteX5" fmla="*/ 671512 w 4233862"/>
              <a:gd name="connsiteY5" fmla="*/ 1144748 h 1668623"/>
              <a:gd name="connsiteX6" fmla="*/ 147637 w 4233862"/>
              <a:gd name="connsiteY6" fmla="*/ 1282861 h 1668623"/>
              <a:gd name="connsiteX7" fmla="*/ 0 w 4233862"/>
              <a:gd name="connsiteY7" fmla="*/ 1668623 h 1668623"/>
              <a:gd name="connsiteX0" fmla="*/ 4381499 w 4381499"/>
              <a:gd name="connsiteY0" fmla="*/ 33397 h 1800284"/>
              <a:gd name="connsiteX1" fmla="*/ 3976687 w 4381499"/>
              <a:gd name="connsiteY1" fmla="*/ 257234 h 1800284"/>
              <a:gd name="connsiteX2" fmla="*/ 4019550 w 4381499"/>
              <a:gd name="connsiteY2" fmla="*/ 895409 h 1800284"/>
              <a:gd name="connsiteX3" fmla="*/ 3438525 w 4381499"/>
              <a:gd name="connsiteY3" fmla="*/ 1262122 h 1800284"/>
              <a:gd name="connsiteX4" fmla="*/ 1423987 w 4381499"/>
              <a:gd name="connsiteY4" fmla="*/ 1295459 h 1800284"/>
              <a:gd name="connsiteX5" fmla="*/ 671512 w 4381499"/>
              <a:gd name="connsiteY5" fmla="*/ 1276409 h 1800284"/>
              <a:gd name="connsiteX6" fmla="*/ 147637 w 4381499"/>
              <a:gd name="connsiteY6" fmla="*/ 1414522 h 1800284"/>
              <a:gd name="connsiteX7" fmla="*/ 0 w 4381499"/>
              <a:gd name="connsiteY7" fmla="*/ 1800284 h 1800284"/>
              <a:gd name="connsiteX0" fmla="*/ 4381499 w 4381499"/>
              <a:gd name="connsiteY0" fmla="*/ 0 h 1766887"/>
              <a:gd name="connsiteX1" fmla="*/ 3976687 w 4381499"/>
              <a:gd name="connsiteY1" fmla="*/ 223837 h 1766887"/>
              <a:gd name="connsiteX2" fmla="*/ 4019550 w 4381499"/>
              <a:gd name="connsiteY2" fmla="*/ 862012 h 1766887"/>
              <a:gd name="connsiteX3" fmla="*/ 3438525 w 4381499"/>
              <a:gd name="connsiteY3" fmla="*/ 1228725 h 1766887"/>
              <a:gd name="connsiteX4" fmla="*/ 1423987 w 4381499"/>
              <a:gd name="connsiteY4" fmla="*/ 1262062 h 1766887"/>
              <a:gd name="connsiteX5" fmla="*/ 671512 w 4381499"/>
              <a:gd name="connsiteY5" fmla="*/ 1243012 h 1766887"/>
              <a:gd name="connsiteX6" fmla="*/ 147637 w 4381499"/>
              <a:gd name="connsiteY6" fmla="*/ 1381125 h 1766887"/>
              <a:gd name="connsiteX7" fmla="*/ 0 w 4381499"/>
              <a:gd name="connsiteY7" fmla="*/ 1766887 h 1766887"/>
              <a:gd name="connsiteX0" fmla="*/ 4271962 w 4271962"/>
              <a:gd name="connsiteY0" fmla="*/ 0 h 1728787"/>
              <a:gd name="connsiteX1" fmla="*/ 3976687 w 4271962"/>
              <a:gd name="connsiteY1" fmla="*/ 185737 h 1728787"/>
              <a:gd name="connsiteX2" fmla="*/ 4019550 w 4271962"/>
              <a:gd name="connsiteY2" fmla="*/ 823912 h 1728787"/>
              <a:gd name="connsiteX3" fmla="*/ 3438525 w 4271962"/>
              <a:gd name="connsiteY3" fmla="*/ 1190625 h 1728787"/>
              <a:gd name="connsiteX4" fmla="*/ 1423987 w 4271962"/>
              <a:gd name="connsiteY4" fmla="*/ 1223962 h 1728787"/>
              <a:gd name="connsiteX5" fmla="*/ 671512 w 4271962"/>
              <a:gd name="connsiteY5" fmla="*/ 1204912 h 1728787"/>
              <a:gd name="connsiteX6" fmla="*/ 147637 w 4271962"/>
              <a:gd name="connsiteY6" fmla="*/ 1343025 h 1728787"/>
              <a:gd name="connsiteX7" fmla="*/ 0 w 4271962"/>
              <a:gd name="connsiteY7" fmla="*/ 1728787 h 1728787"/>
              <a:gd name="connsiteX0" fmla="*/ 4271962 w 4271962"/>
              <a:gd name="connsiteY0" fmla="*/ 0 h 1728787"/>
              <a:gd name="connsiteX1" fmla="*/ 3976687 w 4271962"/>
              <a:gd name="connsiteY1" fmla="*/ 185737 h 1728787"/>
              <a:gd name="connsiteX2" fmla="*/ 4019550 w 4271962"/>
              <a:gd name="connsiteY2" fmla="*/ 823912 h 1728787"/>
              <a:gd name="connsiteX3" fmla="*/ 3438525 w 4271962"/>
              <a:gd name="connsiteY3" fmla="*/ 1190625 h 1728787"/>
              <a:gd name="connsiteX4" fmla="*/ 1423987 w 4271962"/>
              <a:gd name="connsiteY4" fmla="*/ 1223962 h 1728787"/>
              <a:gd name="connsiteX5" fmla="*/ 671512 w 4271962"/>
              <a:gd name="connsiteY5" fmla="*/ 1204912 h 1728787"/>
              <a:gd name="connsiteX6" fmla="*/ 147637 w 4271962"/>
              <a:gd name="connsiteY6" fmla="*/ 1343025 h 1728787"/>
              <a:gd name="connsiteX7" fmla="*/ 0 w 4271962"/>
              <a:gd name="connsiteY7" fmla="*/ 1728787 h 1728787"/>
              <a:gd name="connsiteX0" fmla="*/ 4190999 w 4190999"/>
              <a:gd name="connsiteY0" fmla="*/ 0 h 1695450"/>
              <a:gd name="connsiteX1" fmla="*/ 3976687 w 4190999"/>
              <a:gd name="connsiteY1" fmla="*/ 152400 h 1695450"/>
              <a:gd name="connsiteX2" fmla="*/ 4019550 w 4190999"/>
              <a:gd name="connsiteY2" fmla="*/ 790575 h 1695450"/>
              <a:gd name="connsiteX3" fmla="*/ 3438525 w 4190999"/>
              <a:gd name="connsiteY3" fmla="*/ 1157288 h 1695450"/>
              <a:gd name="connsiteX4" fmla="*/ 1423987 w 4190999"/>
              <a:gd name="connsiteY4" fmla="*/ 1190625 h 1695450"/>
              <a:gd name="connsiteX5" fmla="*/ 671512 w 4190999"/>
              <a:gd name="connsiteY5" fmla="*/ 1171575 h 1695450"/>
              <a:gd name="connsiteX6" fmla="*/ 147637 w 4190999"/>
              <a:gd name="connsiteY6" fmla="*/ 1309688 h 1695450"/>
              <a:gd name="connsiteX7" fmla="*/ 0 w 4190999"/>
              <a:gd name="connsiteY7" fmla="*/ 1695450 h 1695450"/>
              <a:gd name="connsiteX0" fmla="*/ 4190999 w 4190999"/>
              <a:gd name="connsiteY0" fmla="*/ 0 h 1695450"/>
              <a:gd name="connsiteX1" fmla="*/ 3976687 w 4190999"/>
              <a:gd name="connsiteY1" fmla="*/ 152400 h 1695450"/>
              <a:gd name="connsiteX2" fmla="*/ 4019550 w 4190999"/>
              <a:gd name="connsiteY2" fmla="*/ 790575 h 1695450"/>
              <a:gd name="connsiteX3" fmla="*/ 3438525 w 4190999"/>
              <a:gd name="connsiteY3" fmla="*/ 1157288 h 1695450"/>
              <a:gd name="connsiteX4" fmla="*/ 1423987 w 4190999"/>
              <a:gd name="connsiteY4" fmla="*/ 1190625 h 1695450"/>
              <a:gd name="connsiteX5" fmla="*/ 671512 w 4190999"/>
              <a:gd name="connsiteY5" fmla="*/ 1171575 h 1695450"/>
              <a:gd name="connsiteX6" fmla="*/ 147637 w 4190999"/>
              <a:gd name="connsiteY6" fmla="*/ 1309688 h 1695450"/>
              <a:gd name="connsiteX7" fmla="*/ 0 w 4190999"/>
              <a:gd name="connsiteY7" fmla="*/ 1695450 h 1695450"/>
              <a:gd name="connsiteX0" fmla="*/ 4190999 w 4190999"/>
              <a:gd name="connsiteY0" fmla="*/ 0 h 1695450"/>
              <a:gd name="connsiteX1" fmla="*/ 3976687 w 4190999"/>
              <a:gd name="connsiteY1" fmla="*/ 152400 h 1695450"/>
              <a:gd name="connsiteX2" fmla="*/ 4019550 w 4190999"/>
              <a:gd name="connsiteY2" fmla="*/ 790575 h 1695450"/>
              <a:gd name="connsiteX3" fmla="*/ 3438525 w 4190999"/>
              <a:gd name="connsiteY3" fmla="*/ 1157288 h 1695450"/>
              <a:gd name="connsiteX4" fmla="*/ 1423987 w 4190999"/>
              <a:gd name="connsiteY4" fmla="*/ 1190625 h 1695450"/>
              <a:gd name="connsiteX5" fmla="*/ 671512 w 4190999"/>
              <a:gd name="connsiteY5" fmla="*/ 1171575 h 1695450"/>
              <a:gd name="connsiteX6" fmla="*/ 147637 w 4190999"/>
              <a:gd name="connsiteY6" fmla="*/ 1309688 h 1695450"/>
              <a:gd name="connsiteX7" fmla="*/ 0 w 4190999"/>
              <a:gd name="connsiteY7" fmla="*/ 1695450 h 1695450"/>
              <a:gd name="connsiteX0" fmla="*/ 4190999 w 4190999"/>
              <a:gd name="connsiteY0" fmla="*/ 0 h 1695450"/>
              <a:gd name="connsiteX1" fmla="*/ 3976687 w 4190999"/>
              <a:gd name="connsiteY1" fmla="*/ 152400 h 1695450"/>
              <a:gd name="connsiteX2" fmla="*/ 4019550 w 4190999"/>
              <a:gd name="connsiteY2" fmla="*/ 790575 h 1695450"/>
              <a:gd name="connsiteX3" fmla="*/ 3270745 w 4190999"/>
              <a:gd name="connsiteY3" fmla="*/ 628782 h 1695450"/>
              <a:gd name="connsiteX4" fmla="*/ 1423987 w 4190999"/>
              <a:gd name="connsiteY4" fmla="*/ 1190625 h 1695450"/>
              <a:gd name="connsiteX5" fmla="*/ 671512 w 4190999"/>
              <a:gd name="connsiteY5" fmla="*/ 1171575 h 1695450"/>
              <a:gd name="connsiteX6" fmla="*/ 147637 w 4190999"/>
              <a:gd name="connsiteY6" fmla="*/ 1309688 h 1695450"/>
              <a:gd name="connsiteX7" fmla="*/ 0 w 4190999"/>
              <a:gd name="connsiteY7" fmla="*/ 1695450 h 1695450"/>
              <a:gd name="connsiteX0" fmla="*/ 4190999 w 4190999"/>
              <a:gd name="connsiteY0" fmla="*/ 0 h 1695450"/>
              <a:gd name="connsiteX1" fmla="*/ 3976687 w 4190999"/>
              <a:gd name="connsiteY1" fmla="*/ 152400 h 1695450"/>
              <a:gd name="connsiteX2" fmla="*/ 3927271 w 4190999"/>
              <a:gd name="connsiteY2" fmla="*/ 496960 h 1695450"/>
              <a:gd name="connsiteX3" fmla="*/ 3270745 w 4190999"/>
              <a:gd name="connsiteY3" fmla="*/ 628782 h 1695450"/>
              <a:gd name="connsiteX4" fmla="*/ 1423987 w 4190999"/>
              <a:gd name="connsiteY4" fmla="*/ 1190625 h 1695450"/>
              <a:gd name="connsiteX5" fmla="*/ 671512 w 4190999"/>
              <a:gd name="connsiteY5" fmla="*/ 1171575 h 1695450"/>
              <a:gd name="connsiteX6" fmla="*/ 147637 w 4190999"/>
              <a:gd name="connsiteY6" fmla="*/ 1309688 h 1695450"/>
              <a:gd name="connsiteX7" fmla="*/ 0 w 4190999"/>
              <a:gd name="connsiteY7" fmla="*/ 1695450 h 1695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90999" h="1695450">
                <a:moveTo>
                  <a:pt x="4190999" y="0"/>
                </a:moveTo>
                <a:cubicBezTo>
                  <a:pt x="4056458" y="45639"/>
                  <a:pt x="4020642" y="69573"/>
                  <a:pt x="3976687" y="152400"/>
                </a:cubicBezTo>
                <a:cubicBezTo>
                  <a:pt x="3932732" y="235227"/>
                  <a:pt x="4044928" y="417563"/>
                  <a:pt x="3927271" y="496960"/>
                </a:cubicBezTo>
                <a:cubicBezTo>
                  <a:pt x="3809614" y="576357"/>
                  <a:pt x="3687959" y="513171"/>
                  <a:pt x="3270745" y="628782"/>
                </a:cubicBezTo>
                <a:cubicBezTo>
                  <a:pt x="2853531" y="744393"/>
                  <a:pt x="1857193" y="1100160"/>
                  <a:pt x="1423987" y="1190625"/>
                </a:cubicBezTo>
                <a:cubicBezTo>
                  <a:pt x="990782" y="1281091"/>
                  <a:pt x="884237" y="1151731"/>
                  <a:pt x="671512" y="1171575"/>
                </a:cubicBezTo>
                <a:cubicBezTo>
                  <a:pt x="458787" y="1191419"/>
                  <a:pt x="259556" y="1222376"/>
                  <a:pt x="147637" y="1309688"/>
                </a:cubicBezTo>
                <a:cubicBezTo>
                  <a:pt x="35718" y="1397000"/>
                  <a:pt x="24606" y="1635125"/>
                  <a:pt x="0" y="1695450"/>
                </a:cubicBezTo>
              </a:path>
            </a:pathLst>
          </a:custGeom>
          <a:noFill/>
          <a:ln w="114300" cap="rnd">
            <a:solidFill>
              <a:srgbClr val="004AF0"/>
            </a:solidFill>
            <a:tailEnd type="triangle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5E3D1535-904B-409D-8BB6-067CBD7EA875}"/>
              </a:ext>
            </a:extLst>
          </p:cNvPr>
          <p:cNvSpPr/>
          <p:nvPr/>
        </p:nvSpPr>
        <p:spPr>
          <a:xfrm rot="20982737">
            <a:off x="6143758" y="3768557"/>
            <a:ext cx="1561284" cy="350368"/>
          </a:xfrm>
          <a:prstGeom prst="rect">
            <a:avLst/>
          </a:prstGeom>
          <a:solidFill>
            <a:srgbClr val="00B050"/>
          </a:solidFill>
          <a:ln/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ylling stein</a:t>
            </a:r>
          </a:p>
        </p:txBody>
      </p:sp>
      <p:sp>
        <p:nvSpPr>
          <p:cNvPr id="23" name="Pil: venstre 22">
            <a:extLst>
              <a:ext uri="{FF2B5EF4-FFF2-40B4-BE49-F238E27FC236}">
                <a16:creationId xmlns:a16="http://schemas.microsoft.com/office/drawing/2014/main" id="{87CCDA4E-2CC7-4370-8F5A-87D38EBE7B27}"/>
              </a:ext>
            </a:extLst>
          </p:cNvPr>
          <p:cNvSpPr/>
          <p:nvPr/>
        </p:nvSpPr>
        <p:spPr>
          <a:xfrm rot="11852586">
            <a:off x="4155537" y="3687154"/>
            <a:ext cx="2203063" cy="118879"/>
          </a:xfrm>
          <a:prstGeom prst="leftArrow">
            <a:avLst>
              <a:gd name="adj1" fmla="val 50000"/>
              <a:gd name="adj2" fmla="val 119578"/>
            </a:avLst>
          </a:prstGeom>
          <a:solidFill>
            <a:srgbClr val="FF0000"/>
          </a:solidFill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 w="22225">
                <a:solidFill>
                  <a:prstClr val="black"/>
                </a:solidFill>
                <a:prstDash val="solid"/>
              </a:ln>
              <a:solidFill>
                <a:srgbClr val="ED7D31">
                  <a:lumMod val="40000"/>
                  <a:lumOff val="6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Pil: venstre 29">
            <a:extLst>
              <a:ext uri="{FF2B5EF4-FFF2-40B4-BE49-F238E27FC236}">
                <a16:creationId xmlns:a16="http://schemas.microsoft.com/office/drawing/2014/main" id="{BDF8D534-26A7-4A7E-A4F8-6A260BCF0F55}"/>
              </a:ext>
            </a:extLst>
          </p:cNvPr>
          <p:cNvSpPr/>
          <p:nvPr/>
        </p:nvSpPr>
        <p:spPr>
          <a:xfrm rot="15125020">
            <a:off x="6845048" y="3154841"/>
            <a:ext cx="1194328" cy="134172"/>
          </a:xfrm>
          <a:prstGeom prst="leftArrow">
            <a:avLst>
              <a:gd name="adj1" fmla="val 50000"/>
              <a:gd name="adj2" fmla="val 119578"/>
            </a:avLst>
          </a:prstGeom>
          <a:solidFill>
            <a:srgbClr val="FF0000"/>
          </a:solidFill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 w="22225">
                <a:solidFill>
                  <a:prstClr val="black"/>
                </a:solidFill>
                <a:prstDash val="solid"/>
              </a:ln>
              <a:solidFill>
                <a:srgbClr val="ED7D31">
                  <a:lumMod val="40000"/>
                  <a:lumOff val="6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" name="Rett pilkobling 3">
            <a:extLst>
              <a:ext uri="{FF2B5EF4-FFF2-40B4-BE49-F238E27FC236}">
                <a16:creationId xmlns:a16="http://schemas.microsoft.com/office/drawing/2014/main" id="{5AB7D40B-F273-37C2-CA32-7303B27B5676}"/>
              </a:ext>
            </a:extLst>
          </p:cNvPr>
          <p:cNvCxnSpPr/>
          <p:nvPr/>
        </p:nvCxnSpPr>
        <p:spPr>
          <a:xfrm flipH="1">
            <a:off x="4607511" y="1564620"/>
            <a:ext cx="2192784" cy="113825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FCD36F9B-6468-58CF-B79E-C4666C525EBA}"/>
              </a:ext>
            </a:extLst>
          </p:cNvPr>
          <p:cNvSpPr txBox="1"/>
          <p:nvPr/>
        </p:nvSpPr>
        <p:spPr>
          <a:xfrm>
            <a:off x="6800295" y="1041400"/>
            <a:ext cx="2200435" cy="646331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ømledning legges om våren 23</a:t>
            </a:r>
          </a:p>
        </p:txBody>
      </p:sp>
    </p:spTree>
    <p:extLst>
      <p:ext uri="{BB962C8B-B14F-4D97-AF65-F5344CB8AC3E}">
        <p14:creationId xmlns:p14="http://schemas.microsoft.com/office/powerpoint/2010/main" val="33578477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DD203398-D659-4CD0-A95D-BD99088AD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3200">
                <a:solidFill>
                  <a:srgbClr val="84236B"/>
                </a:solidFill>
                <a:latin typeface="Arial"/>
                <a:ea typeface="+mj-ea"/>
                <a:cs typeface="Arial"/>
              </a:rPr>
              <a:t>ENMR – Mo i Rana </a:t>
            </a:r>
            <a:r>
              <a:rPr lang="sv-SE" sz="3200" err="1">
                <a:solidFill>
                  <a:srgbClr val="84236B"/>
                </a:solidFill>
                <a:latin typeface="Arial"/>
                <a:ea typeface="+mj-ea"/>
                <a:cs typeface="Arial"/>
              </a:rPr>
              <a:t>lufthavn</a:t>
            </a:r>
            <a:r>
              <a:rPr lang="sv-SE" sz="3200">
                <a:solidFill>
                  <a:srgbClr val="84236B"/>
                </a:solidFill>
                <a:latin typeface="Arial"/>
                <a:ea typeface="+mj-ea"/>
                <a:cs typeface="Arial"/>
              </a:rPr>
              <a:t>, </a:t>
            </a:r>
            <a:r>
              <a:rPr lang="sv-SE" sz="3200" err="1">
                <a:solidFill>
                  <a:srgbClr val="84236B"/>
                </a:solidFill>
                <a:latin typeface="Arial"/>
                <a:ea typeface="+mj-ea"/>
                <a:cs typeface="Arial"/>
              </a:rPr>
              <a:t>Fagerlia</a:t>
            </a:r>
            <a:endParaRPr lang="nb-NO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A0491A5C-D8EE-45DA-9516-9CAC6CA275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738282" cy="4351338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456565" marR="0" lvl="0" indent="-456565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nb-NO" sz="3200" dirty="0">
                <a:solidFill>
                  <a:srgbClr val="1D1D1D"/>
                </a:solidFill>
                <a:latin typeface="Arial"/>
              </a:rPr>
              <a:t>Informasjon om planlagt gjennomføring</a:t>
            </a:r>
            <a:endParaRPr lang="nb-NO" dirty="0">
              <a:ea typeface="+mn-ea"/>
              <a:cs typeface="+mn-cs"/>
            </a:endParaRPr>
          </a:p>
          <a:p>
            <a:pPr marL="989965" marR="0" lvl="1" indent="-380365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nb-NO" sz="2650" b="0" i="0" u="none" strike="noStrike" kern="1200" cap="none" spc="0" normalizeH="0" baseline="0" noProof="0" dirty="0">
                <a:ln>
                  <a:noFill/>
                </a:ln>
                <a:solidFill>
                  <a:srgbClr val="8423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beidstider</a:t>
            </a:r>
            <a:endParaRPr lang="nb-NO" sz="2650" b="0" i="0" u="none" strike="noStrike" kern="1200" cap="none" spc="0" normalizeH="0" baseline="0" noProof="0" dirty="0">
              <a:ln>
                <a:noFill/>
              </a:ln>
              <a:solidFill>
                <a:srgbClr val="84236B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1523365" marR="0" lvl="2" indent="-304165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471C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obber i hovedsak 15-13 rotasjon. Skiftbytte tirsdag og onsdag</a:t>
            </a:r>
            <a:endParaRPr lang="nb-NO" sz="2400" b="0" i="0" u="none" strike="noStrike" kern="1200" cap="none" spc="0" normalizeH="0" baseline="0" noProof="0" dirty="0">
              <a:ln>
                <a:noFill/>
              </a:ln>
              <a:solidFill>
                <a:srgbClr val="471C59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1523365" marR="0" lvl="2" indent="-304165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nb-NO" sz="2400" dirty="0">
                <a:solidFill>
                  <a:srgbClr val="471C59"/>
                </a:solidFill>
                <a:latin typeface="Arial"/>
              </a:rPr>
              <a:t>Arbeidstid fra 07:00-19:30. Søndag 08-16.</a:t>
            </a:r>
            <a:endParaRPr lang="nb-NO" sz="2667" dirty="0">
              <a:solidFill>
                <a:srgbClr val="84236B"/>
              </a:solidFill>
              <a:latin typeface="Arial"/>
              <a:cs typeface="Arial"/>
            </a:endParaRPr>
          </a:p>
          <a:p>
            <a:pPr marL="989965" marR="0" lvl="1" indent="-380365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nb-NO" sz="2650" b="0" i="0" u="none" strike="noStrike" kern="1200" cap="none" spc="0" normalizeH="0" baseline="0" noProof="0" dirty="0">
                <a:ln>
                  <a:noFill/>
                </a:ln>
                <a:solidFill>
                  <a:srgbClr val="8423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rengningsarbeider</a:t>
            </a:r>
            <a:endParaRPr lang="nb-NO" sz="2650" b="0" i="0" u="none" strike="noStrike" kern="1200" cap="none" spc="0" normalizeH="0" baseline="0" noProof="0" dirty="0">
              <a:ln>
                <a:noFill/>
              </a:ln>
              <a:solidFill>
                <a:srgbClr val="84236B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1523365" lvl="2" indent="-304165" defTabSz="1219170">
              <a:lnSpc>
                <a:spcPct val="100000"/>
              </a:lnSpc>
              <a:spcBef>
                <a:spcPct val="20000"/>
              </a:spcBef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471C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åde store og små salver. Evakuering kan bli nødvendig</a:t>
            </a:r>
            <a:r>
              <a:rPr lang="nb-NO" sz="2400" dirty="0">
                <a:solidFill>
                  <a:srgbClr val="471C59"/>
                </a:solidFill>
                <a:latin typeface="Arial"/>
              </a:rPr>
              <a:t> </a:t>
            </a:r>
            <a:endParaRPr lang="nb-NO" sz="2400" b="0" i="0" u="none" strike="noStrike" kern="1200" cap="none" spc="0" normalizeH="0" baseline="0" noProof="0" dirty="0">
              <a:ln>
                <a:noFill/>
              </a:ln>
              <a:solidFill>
                <a:srgbClr val="471C59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1523365" lvl="2" indent="-304165" defTabSz="1219170">
              <a:lnSpc>
                <a:spcPct val="100000"/>
              </a:lnSpc>
              <a:spcBef>
                <a:spcPct val="20000"/>
              </a:spcBef>
              <a:defRPr/>
            </a:pPr>
            <a:r>
              <a:rPr lang="nb-NO" sz="2400" dirty="0">
                <a:solidFill>
                  <a:srgbClr val="471C59"/>
                </a:solidFill>
                <a:latin typeface="Arial"/>
              </a:rPr>
              <a:t>Sikkerhetsavstand vurderes i hvert tilfelle. Kan være opp mot 600 meter</a:t>
            </a:r>
            <a:endParaRPr lang="nb-NO" sz="2400" dirty="0">
              <a:solidFill>
                <a:srgbClr val="471C59"/>
              </a:solidFill>
              <a:latin typeface="Arial"/>
              <a:cs typeface="Arial"/>
            </a:endParaRPr>
          </a:p>
          <a:p>
            <a:pPr marL="1523365" lvl="2" indent="-304165" defTabSz="1219170">
              <a:lnSpc>
                <a:spcPct val="100000"/>
              </a:lnSpc>
              <a:spcBef>
                <a:spcPct val="20000"/>
              </a:spcBef>
              <a:defRPr/>
            </a:pPr>
            <a:r>
              <a:rPr lang="nb-NO" sz="2400" dirty="0">
                <a:solidFill>
                  <a:srgbClr val="471C59"/>
                </a:solidFill>
                <a:latin typeface="Arial"/>
              </a:rPr>
              <a:t>Informasjon om sprengning tilbys varslet per </a:t>
            </a:r>
            <a:r>
              <a:rPr lang="nb-NO" sz="2400" dirty="0" err="1">
                <a:solidFill>
                  <a:srgbClr val="471C59"/>
                </a:solidFill>
                <a:latin typeface="Arial"/>
              </a:rPr>
              <a:t>sms</a:t>
            </a:r>
            <a:r>
              <a:rPr lang="nb-NO" sz="2400" dirty="0">
                <a:solidFill>
                  <a:srgbClr val="471C59"/>
                </a:solidFill>
                <a:latin typeface="Arial"/>
              </a:rPr>
              <a:t>.</a:t>
            </a:r>
            <a:endParaRPr lang="nb-NO" sz="2400" dirty="0">
              <a:solidFill>
                <a:srgbClr val="471C59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157298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DD203398-D659-4CD0-A95D-BD99088AD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3200">
                <a:solidFill>
                  <a:srgbClr val="84236B"/>
                </a:solidFill>
                <a:latin typeface="Arial"/>
                <a:ea typeface="+mj-ea"/>
                <a:cs typeface="Arial"/>
              </a:rPr>
              <a:t>ENMR – Mo i Rana </a:t>
            </a:r>
            <a:r>
              <a:rPr lang="sv-SE" sz="3200" err="1">
                <a:solidFill>
                  <a:srgbClr val="84236B"/>
                </a:solidFill>
                <a:latin typeface="Arial"/>
                <a:ea typeface="+mj-ea"/>
                <a:cs typeface="Arial"/>
              </a:rPr>
              <a:t>lufthavn</a:t>
            </a:r>
            <a:r>
              <a:rPr lang="sv-SE" sz="3200">
                <a:solidFill>
                  <a:srgbClr val="84236B"/>
                </a:solidFill>
                <a:latin typeface="Arial"/>
                <a:ea typeface="+mj-ea"/>
                <a:cs typeface="Arial"/>
              </a:rPr>
              <a:t>, </a:t>
            </a:r>
            <a:r>
              <a:rPr lang="sv-SE" sz="3200" err="1">
                <a:solidFill>
                  <a:srgbClr val="84236B"/>
                </a:solidFill>
                <a:latin typeface="Arial"/>
                <a:ea typeface="+mj-ea"/>
                <a:cs typeface="Arial"/>
              </a:rPr>
              <a:t>Fagerlia</a:t>
            </a:r>
            <a:endParaRPr lang="nb-NO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A0491A5C-D8EE-45DA-9516-9CAC6CA275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738282" cy="4351338"/>
          </a:xfrm>
        </p:spPr>
        <p:txBody>
          <a:bodyPr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nb-NO" sz="3200">
                <a:solidFill>
                  <a:srgbClr val="1D1D1D"/>
                </a:solidFill>
                <a:latin typeface="Arial"/>
              </a:rPr>
              <a:t>Informasjon om planlagt gjennomføring</a:t>
            </a:r>
            <a:endParaRPr kumimoji="0" lang="nb-NO" sz="3200" b="0" i="0" u="none" strike="noStrike" kern="1200" cap="none" spc="0" normalizeH="0" baseline="0" noProof="0">
              <a:ln>
                <a:noFill/>
              </a:ln>
              <a:solidFill>
                <a:srgbClr val="1D1D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90575" marR="0" lvl="1" indent="-38099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nb-NO" sz="2667" b="0" i="0" u="none" strike="noStrike" kern="1200" cap="none" spc="0" normalizeH="0" baseline="0" noProof="0">
                <a:ln>
                  <a:noFill/>
                </a:ln>
                <a:solidFill>
                  <a:srgbClr val="84236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øv, støy, sikring av området</a:t>
            </a:r>
          </a:p>
          <a:p>
            <a:pPr marL="1523962" marR="0" lvl="2" indent="-304792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srgbClr val="471C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øpende vanning for begrensing av støv </a:t>
            </a:r>
          </a:p>
          <a:p>
            <a:pPr marL="1523962" marR="0" lvl="2" indent="-304792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nb-NO" sz="2400">
                <a:solidFill>
                  <a:srgbClr val="471C59"/>
                </a:solidFill>
                <a:latin typeface="Arial"/>
              </a:rPr>
              <a:t>Sikring av området vurderes spesielt. Utføres på turveger og risikoutsatte steder. Behovsprøvd skilting</a:t>
            </a:r>
            <a:endParaRPr lang="nb-NO" sz="2400">
              <a:solidFill>
                <a:srgbClr val="84236B"/>
              </a:solidFill>
              <a:latin typeface="Arial"/>
            </a:endParaRPr>
          </a:p>
          <a:p>
            <a:pPr marL="1447775" lvl="2" indent="-380990" defTabSz="1219170">
              <a:lnSpc>
                <a:spcPct val="100000"/>
              </a:lnSpc>
              <a:spcBef>
                <a:spcPct val="20000"/>
              </a:spcBef>
              <a:defRPr/>
            </a:pPr>
            <a:endParaRPr kumimoji="0" lang="nb-NO" sz="2267" b="0" i="0" u="none" strike="noStrike" kern="1200" cap="none" spc="0" normalizeH="0" baseline="0" noProof="0">
              <a:ln>
                <a:noFill/>
              </a:ln>
              <a:solidFill>
                <a:srgbClr val="8423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indent="0">
              <a:buNone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738599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2F6244D8-78F4-4B89-823F-3B4A5116D6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genda</a:t>
            </a:r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F930F49A-8555-4B85-B2CD-45A2566DF44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nb-NO" sz="2400" dirty="0"/>
              <a:t>Introduksjon</a:t>
            </a:r>
          </a:p>
          <a:p>
            <a:r>
              <a:rPr lang="nb-NO" sz="2400" dirty="0"/>
              <a:t>Presentasjon av AF Gruppen</a:t>
            </a:r>
          </a:p>
          <a:p>
            <a:r>
              <a:rPr lang="nb-NO" sz="2400" dirty="0"/>
              <a:t>Arbeider mai til september 2023</a:t>
            </a:r>
          </a:p>
          <a:p>
            <a:r>
              <a:rPr lang="nb-NO" sz="2400" dirty="0"/>
              <a:t>Spørsmål </a:t>
            </a:r>
          </a:p>
          <a:p>
            <a:endParaRPr lang="nb-NO" sz="2400" dirty="0"/>
          </a:p>
          <a:p>
            <a:endParaRPr lang="nb-NO" sz="2400" dirty="0"/>
          </a:p>
          <a:p>
            <a:pPr marL="0" indent="0">
              <a:buNone/>
            </a:pPr>
            <a:r>
              <a:rPr lang="nb-NO" sz="2400" dirty="0"/>
              <a:t>Varighet : 18.00 – 19.00</a:t>
            </a:r>
            <a:endParaRPr lang="nb-NO" sz="2400" dirty="0">
              <a:cs typeface="Arial"/>
            </a:endParaRPr>
          </a:p>
          <a:p>
            <a:pPr marL="0" indent="0">
              <a:buNone/>
            </a:pPr>
            <a:endParaRPr lang="nb-NO" sz="2400" dirty="0"/>
          </a:p>
        </p:txBody>
      </p:sp>
    </p:spTree>
    <p:extLst>
      <p:ext uri="{BB962C8B-B14F-4D97-AF65-F5344CB8AC3E}">
        <p14:creationId xmlns:p14="http://schemas.microsoft.com/office/powerpoint/2010/main" val="2997933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2D1549F-85AE-4BC9-CEE0-8F94789B4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4400">
                <a:solidFill>
                  <a:srgbClr val="84236B"/>
                </a:solidFill>
                <a:latin typeface="Arial"/>
                <a:ea typeface="+mj-ea"/>
                <a:cs typeface="Arial"/>
              </a:rPr>
              <a:t>ENMR – Mo i Rana </a:t>
            </a:r>
            <a:r>
              <a:rPr lang="sv-SE" sz="4400" err="1">
                <a:solidFill>
                  <a:srgbClr val="84236B"/>
                </a:solidFill>
                <a:latin typeface="Arial"/>
                <a:ea typeface="+mj-ea"/>
                <a:cs typeface="Arial"/>
              </a:rPr>
              <a:t>lufthavn</a:t>
            </a:r>
            <a:r>
              <a:rPr lang="sv-SE" sz="4400">
                <a:solidFill>
                  <a:srgbClr val="84236B"/>
                </a:solidFill>
                <a:latin typeface="Arial"/>
                <a:ea typeface="+mj-ea"/>
                <a:cs typeface="Arial"/>
              </a:rPr>
              <a:t>, </a:t>
            </a:r>
            <a:r>
              <a:rPr lang="sv-SE" sz="4400" err="1">
                <a:solidFill>
                  <a:srgbClr val="84236B"/>
                </a:solidFill>
                <a:latin typeface="Arial"/>
                <a:ea typeface="+mj-ea"/>
                <a:cs typeface="Arial"/>
              </a:rPr>
              <a:t>Fagerlia</a:t>
            </a:r>
            <a:endParaRPr lang="nb-NO"/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AD1BF8A0-D502-4C7B-44AF-534A85D2CB6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06777" y="27333"/>
            <a:ext cx="9826326" cy="6847834"/>
          </a:xfrm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BBD63D1B-7D1D-0D03-233A-59F0C8673B72}"/>
              </a:ext>
            </a:extLst>
          </p:cNvPr>
          <p:cNvSpPr txBox="1"/>
          <p:nvPr/>
        </p:nvSpPr>
        <p:spPr>
          <a:xfrm>
            <a:off x="9845336" y="1690688"/>
            <a:ext cx="2254928" cy="4524315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øyberegning basert på utførelse med 104 maskiner i drift samtidig. Blir ikke så mange i somme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d dagens terreng forventes ikke avvik til støyforskrif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legget vil endre seg løpende og kan påvirke opplevelsen av stø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0579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>
            <a:extLst>
              <a:ext uri="{FF2B5EF4-FFF2-40B4-BE49-F238E27FC236}">
                <a16:creationId xmlns:a16="http://schemas.microsoft.com/office/drawing/2014/main" id="{DB947E5B-1312-4C04-A367-C4446402D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ordan jobber AF med miljø?</a:t>
            </a:r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6243E766-5E14-47DC-AF83-2998BEAC97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63253" y="2332037"/>
            <a:ext cx="6536928" cy="4525963"/>
          </a:xfrm>
        </p:spPr>
        <p:txBody>
          <a:bodyPr/>
          <a:lstStyle/>
          <a:p>
            <a:pPr lvl="0"/>
            <a:r>
              <a:rPr lang="nb-NO"/>
              <a:t>Nærmiljø og friluftsliv</a:t>
            </a:r>
          </a:p>
          <a:p>
            <a:pPr lvl="0"/>
            <a:r>
              <a:rPr lang="nb-NO"/>
              <a:t>Støy og rystelser</a:t>
            </a:r>
          </a:p>
          <a:p>
            <a:pPr lvl="0"/>
            <a:r>
              <a:rPr lang="nb-NO"/>
              <a:t>Naturmangfold</a:t>
            </a:r>
          </a:p>
          <a:p>
            <a:pPr lvl="0"/>
            <a:r>
              <a:rPr lang="nb-NO"/>
              <a:t>Energiforbruk og klimagassutslipp</a:t>
            </a:r>
          </a:p>
          <a:p>
            <a:pPr lvl="0"/>
            <a:r>
              <a:rPr lang="nb-NO"/>
              <a:t>Kulturarv</a:t>
            </a:r>
          </a:p>
          <a:p>
            <a:pPr lvl="0"/>
            <a:r>
              <a:rPr lang="nb-NO"/>
              <a:t>Avfallshåndtering</a:t>
            </a:r>
          </a:p>
          <a:p>
            <a:pPr lvl="0"/>
            <a:r>
              <a:rPr lang="nb-NO"/>
              <a:t>Forurensning/utslipp</a:t>
            </a:r>
          </a:p>
          <a:p>
            <a:pPr lvl="1"/>
            <a:r>
              <a:rPr lang="nb-NO"/>
              <a:t>Grunn, luft, vann</a:t>
            </a:r>
          </a:p>
          <a:p>
            <a:endParaRPr lang="nb-NO"/>
          </a:p>
        </p:txBody>
      </p:sp>
      <p:pic>
        <p:nvPicPr>
          <p:cNvPr id="3" name="Plassholder for bilde 4" descr="Et bilde som inneholder plante, blomst, gul&#10;&#10;Automatisk generert beskrivelse">
            <a:extLst>
              <a:ext uri="{FF2B5EF4-FFF2-40B4-BE49-F238E27FC236}">
                <a16:creationId xmlns:a16="http://schemas.microsoft.com/office/drawing/2014/main" id="{6502EE4E-B3FF-1459-B790-5C9BEB4F28D5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4613488" cy="6858000"/>
          </a:xfr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A71822A8-D4DC-E453-AAF9-22C551414661}"/>
              </a:ext>
            </a:extLst>
          </p:cNvPr>
          <p:cNvSpPr txBox="1"/>
          <p:nvPr/>
        </p:nvSpPr>
        <p:spPr>
          <a:xfrm>
            <a:off x="5132439" y="1417639"/>
            <a:ext cx="5633884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667" b="0" i="0" u="none" strike="noStrike" kern="1200" cap="none" spc="0" normalizeH="0" baseline="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sjektets</a:t>
            </a: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nb-NO" sz="2667" b="0" i="0" u="none" strike="noStrike" kern="1200" cap="none" spc="0" normalizeH="0" baseline="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ljøoppfølgingsplan</a:t>
            </a:r>
          </a:p>
        </p:txBody>
      </p:sp>
    </p:spTree>
    <p:extLst>
      <p:ext uri="{BB962C8B-B14F-4D97-AF65-F5344CB8AC3E}">
        <p14:creationId xmlns:p14="http://schemas.microsoft.com/office/powerpoint/2010/main" val="9301588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grotte, fjell, utendørs, hull&#10;&#10;Automatisk generert beskrivelse">
            <a:extLst>
              <a:ext uri="{FF2B5EF4-FFF2-40B4-BE49-F238E27FC236}">
                <a16:creationId xmlns:a16="http://schemas.microsoft.com/office/drawing/2014/main" id="{E5A1239D-2AA3-8CBF-8967-685A29ACCB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120572" y="670340"/>
            <a:ext cx="6987457" cy="5240593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92E05ADA-A5AD-4D16-9BCD-3EC4F61E27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Vannhåndtering</a:t>
            </a:r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24736245-6EC4-4D3E-9A58-C5650991CE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9797" y="1600201"/>
            <a:ext cx="6363119" cy="4810431"/>
          </a:xfrm>
        </p:spPr>
        <p:txBody>
          <a:bodyPr>
            <a:normAutofit/>
          </a:bodyPr>
          <a:lstStyle/>
          <a:p>
            <a:pPr lvl="0"/>
            <a:r>
              <a:rPr lang="nb-NO" sz="2400"/>
              <a:t>Forurensning knyttet til sprengsteinsmasser, inngrep i uberørt terreng og myrområder. </a:t>
            </a:r>
          </a:p>
          <a:p>
            <a:pPr lvl="1"/>
            <a:r>
              <a:rPr lang="nb-NO" sz="2400"/>
              <a:t>Partikkelspredning</a:t>
            </a:r>
          </a:p>
          <a:p>
            <a:pPr lvl="0"/>
            <a:r>
              <a:rPr lang="nb-NO" sz="2400"/>
              <a:t>Overvann som har vært i kontakt med eksponerte anleggsområder, riggområder og massedeponier skal samles opp og behandles før utslipp til resipienter.</a:t>
            </a:r>
          </a:p>
          <a:p>
            <a:pPr lvl="0"/>
            <a:r>
              <a:rPr lang="nb-NO" sz="2400"/>
              <a:t>I utslippstillatelsen for midlertidig anleggsfase er det gitt grenseverdier for utslipp av anleggsvann.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719700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DD203398-D659-4CD0-A95D-BD99088AD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Løsninger i anleggsfase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4EBE3B0F-B334-21DD-524C-A6BAF552C1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9797" y="1417639"/>
            <a:ext cx="11730454" cy="4195084"/>
          </a:xfrm>
          <a:prstGeom prst="rect">
            <a:avLst/>
          </a:prstGeom>
        </p:spPr>
      </p:pic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7076ECD-3B26-6ABE-4DA4-119963347587}"/>
              </a:ext>
            </a:extLst>
          </p:cNvPr>
          <p:cNvSpPr txBox="1"/>
          <p:nvPr/>
        </p:nvSpPr>
        <p:spPr>
          <a:xfrm>
            <a:off x="10515599" y="3145849"/>
            <a:ext cx="1500809" cy="36933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ngtjønna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1D1D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Pil: høyre 15">
            <a:extLst>
              <a:ext uri="{FF2B5EF4-FFF2-40B4-BE49-F238E27FC236}">
                <a16:creationId xmlns:a16="http://schemas.microsoft.com/office/drawing/2014/main" id="{56E5E1B2-ADA0-9340-C599-37C575F6551A}"/>
              </a:ext>
            </a:extLst>
          </p:cNvPr>
          <p:cNvSpPr/>
          <p:nvPr/>
        </p:nvSpPr>
        <p:spPr>
          <a:xfrm rot="9889360">
            <a:off x="9498205" y="3344895"/>
            <a:ext cx="922730" cy="132372"/>
          </a:xfrm>
          <a:prstGeom prst="rightArrow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1D1D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CE2B5C77-FD58-0677-28A0-A6A128297161}"/>
              </a:ext>
            </a:extLst>
          </p:cNvPr>
          <p:cNvSpPr txBox="1"/>
          <p:nvPr/>
        </p:nvSpPr>
        <p:spPr>
          <a:xfrm>
            <a:off x="3905088" y="5428057"/>
            <a:ext cx="1500809" cy="36933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verrbekken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1D1D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Pil: høyre 17">
            <a:extLst>
              <a:ext uri="{FF2B5EF4-FFF2-40B4-BE49-F238E27FC236}">
                <a16:creationId xmlns:a16="http://schemas.microsoft.com/office/drawing/2014/main" id="{37DC15E4-B12A-F0BD-497E-64F6B5572F0D}"/>
              </a:ext>
            </a:extLst>
          </p:cNvPr>
          <p:cNvSpPr/>
          <p:nvPr/>
        </p:nvSpPr>
        <p:spPr>
          <a:xfrm rot="17684770">
            <a:off x="5210547" y="5099833"/>
            <a:ext cx="922730" cy="132372"/>
          </a:xfrm>
          <a:prstGeom prst="rightArrow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1D1D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9EA04C9B-1366-9CF7-C0FE-2C97941DBBA3}"/>
              </a:ext>
            </a:extLst>
          </p:cNvPr>
          <p:cNvSpPr txBox="1"/>
          <p:nvPr/>
        </p:nvSpPr>
        <p:spPr>
          <a:xfrm>
            <a:off x="2513609" y="1699938"/>
            <a:ext cx="1222447" cy="37734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nelva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1D1D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Pil: høyre 19">
            <a:extLst>
              <a:ext uri="{FF2B5EF4-FFF2-40B4-BE49-F238E27FC236}">
                <a16:creationId xmlns:a16="http://schemas.microsoft.com/office/drawing/2014/main" id="{307A6693-95C0-2F93-9C99-0D0F8EA232A0}"/>
              </a:ext>
            </a:extLst>
          </p:cNvPr>
          <p:cNvSpPr/>
          <p:nvPr/>
        </p:nvSpPr>
        <p:spPr>
          <a:xfrm rot="11023321">
            <a:off x="1834698" y="1779501"/>
            <a:ext cx="566457" cy="114646"/>
          </a:xfrm>
          <a:prstGeom prst="rightArrow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1D1D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D64222DB-3665-D0E3-558C-E17CFD762B53}"/>
              </a:ext>
            </a:extLst>
          </p:cNvPr>
          <p:cNvSpPr txBox="1"/>
          <p:nvPr/>
        </p:nvSpPr>
        <p:spPr>
          <a:xfrm>
            <a:off x="617118" y="5956318"/>
            <a:ext cx="2185718" cy="36933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einbekken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1D1D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3" name="Grafikk 22" descr="Fisk kontur">
            <a:extLst>
              <a:ext uri="{FF2B5EF4-FFF2-40B4-BE49-F238E27FC236}">
                <a16:creationId xmlns:a16="http://schemas.microsoft.com/office/drawing/2014/main" id="{24E7269D-6CC0-BA0D-8237-8D2A6DA624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96774" y="5820051"/>
            <a:ext cx="641865" cy="641865"/>
          </a:xfrm>
          <a:prstGeom prst="rect">
            <a:avLst/>
          </a:prstGeom>
        </p:spPr>
      </p:pic>
      <p:sp>
        <p:nvSpPr>
          <p:cNvPr id="24" name="TekstSylinder 23">
            <a:extLst>
              <a:ext uri="{FF2B5EF4-FFF2-40B4-BE49-F238E27FC236}">
                <a16:creationId xmlns:a16="http://schemas.microsoft.com/office/drawing/2014/main" id="{07BC51E9-4E14-F507-6AAF-2E1ED46C3971}"/>
              </a:ext>
            </a:extLst>
          </p:cNvPr>
          <p:cNvSpPr txBox="1"/>
          <p:nvPr/>
        </p:nvSpPr>
        <p:spPr>
          <a:xfrm>
            <a:off x="4627605" y="1440172"/>
            <a:ext cx="1809878" cy="36933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øgmobekken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1D1D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Pil: høyre 24">
            <a:extLst>
              <a:ext uri="{FF2B5EF4-FFF2-40B4-BE49-F238E27FC236}">
                <a16:creationId xmlns:a16="http://schemas.microsoft.com/office/drawing/2014/main" id="{79850DB3-BE31-DFC5-07D4-7A37A6AFD478}"/>
              </a:ext>
            </a:extLst>
          </p:cNvPr>
          <p:cNvSpPr/>
          <p:nvPr/>
        </p:nvSpPr>
        <p:spPr>
          <a:xfrm rot="8613160">
            <a:off x="4098472" y="2014000"/>
            <a:ext cx="639236" cy="126558"/>
          </a:xfrm>
          <a:prstGeom prst="rightArrow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1D1D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04269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DD203398-D659-4CD0-A95D-BD99088AD8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6603" y="208272"/>
            <a:ext cx="10972800" cy="1143000"/>
          </a:xfrm>
        </p:spPr>
        <p:txBody>
          <a:bodyPr/>
          <a:lstStyle/>
          <a:p>
            <a:r>
              <a:rPr lang="nb-NO"/>
              <a:t>Miljøovervåkning vann</a:t>
            </a:r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A0491A5C-D8EE-45DA-9516-9CAC6CA275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9797" y="1600201"/>
            <a:ext cx="5691453" cy="4525963"/>
          </a:xfrm>
        </p:spPr>
        <p:txBody>
          <a:bodyPr>
            <a:normAutofit lnSpcReduction="10000"/>
          </a:bodyPr>
          <a:lstStyle/>
          <a:p>
            <a:pPr marL="0" lvl="1" indent="0">
              <a:buNone/>
            </a:pPr>
            <a:r>
              <a:rPr lang="nb-NO" sz="3200">
                <a:solidFill>
                  <a:schemeClr val="tx1"/>
                </a:solidFill>
              </a:rPr>
              <a:t>Overflatevann</a:t>
            </a:r>
          </a:p>
          <a:p>
            <a:pPr marL="609585" lvl="1" indent="0">
              <a:buNone/>
            </a:pPr>
            <a:r>
              <a:rPr lang="nb-NO" err="1"/>
              <a:t>Kvartalsvise</a:t>
            </a:r>
            <a:r>
              <a:rPr lang="nb-NO"/>
              <a:t> prøver</a:t>
            </a:r>
          </a:p>
          <a:p>
            <a:pPr marL="609585" lvl="1" indent="0">
              <a:buNone/>
            </a:pPr>
            <a:r>
              <a:rPr lang="nb-NO"/>
              <a:t>Kontinuerlig overvåkning</a:t>
            </a:r>
          </a:p>
          <a:p>
            <a:pPr marL="609585" lvl="1" indent="0">
              <a:buNone/>
            </a:pPr>
            <a:r>
              <a:rPr lang="nb-NO"/>
              <a:t>Ukentlige stikkprøver</a:t>
            </a:r>
          </a:p>
          <a:p>
            <a:pPr marL="609585" lvl="1" indent="0">
              <a:buNone/>
            </a:pPr>
            <a:endParaRPr lang="nb-NO" sz="180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609585" lvl="1" indent="0">
              <a:buNone/>
            </a:pPr>
            <a:r>
              <a:rPr lang="nb-NO" sz="180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øver av bunnfauna og begroingsalger analyseres både med tanke på eutrofi, forsuring samt generell påvirkning. </a:t>
            </a:r>
            <a:endParaRPr lang="nb-NO"/>
          </a:p>
          <a:p>
            <a:pPr marL="609585" lvl="1" indent="0">
              <a:buNone/>
            </a:pPr>
            <a:endParaRPr lang="nb-NO"/>
          </a:p>
          <a:p>
            <a:pPr marL="0" indent="0">
              <a:buNone/>
            </a:pPr>
            <a:r>
              <a:rPr lang="nb-NO"/>
              <a:t>Drikkevann- og grunnvannsovervåkning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34DE890B-141E-9889-FEAD-965B6953710F}"/>
              </a:ext>
            </a:extLst>
          </p:cNvPr>
          <p:cNvSpPr txBox="1"/>
          <p:nvPr/>
        </p:nvSpPr>
        <p:spPr>
          <a:xfrm>
            <a:off x="6400800" y="1724024"/>
            <a:ext cx="233362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PAH16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tungmetaller (As, Pb, Cd, </a:t>
            </a: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Cu</a:t>
            </a: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, </a:t>
            </a: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Cr</a:t>
            </a: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, Hg, Ni, </a:t>
            </a: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Zn</a:t>
            </a: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, Fe, </a:t>
            </a: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Mn</a:t>
            </a: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), Al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fargetall, TOC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konduktivitet, turbiditet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pH, alkalinitet, temperatur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SO</a:t>
            </a:r>
            <a:r>
              <a:rPr kumimoji="0" lang="nb-NO" sz="1800" b="0" i="0" u="none" strike="noStrike" kern="1200" cap="none" spc="0" normalizeH="0" baseline="-2500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4</a:t>
            </a: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, NO</a:t>
            </a:r>
            <a:r>
              <a:rPr kumimoji="0" lang="nb-NO" sz="1800" b="0" i="0" u="none" strike="noStrike" kern="1200" cap="none" spc="0" normalizeH="0" baseline="-2500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3</a:t>
            </a: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, NH</a:t>
            </a:r>
            <a:r>
              <a:rPr kumimoji="0" lang="nb-NO" sz="1800" b="0" i="0" u="none" strike="noStrike" kern="1200" cap="none" spc="0" normalizeH="0" baseline="-2500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4</a:t>
            </a: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, PO</a:t>
            </a:r>
            <a:r>
              <a:rPr kumimoji="0" lang="nb-NO" sz="1800" b="0" i="0" u="none" strike="noStrike" kern="1200" cap="none" spc="0" normalizeH="0" baseline="-2500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4</a:t>
            </a: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tot</a:t>
            </a: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-P, </a:t>
            </a: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tot</a:t>
            </a: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-N, </a:t>
            </a: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Ca</a:t>
            </a: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, K, Mg, Cl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1D1D1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" name="Kobling: buet 6">
            <a:extLst>
              <a:ext uri="{FF2B5EF4-FFF2-40B4-BE49-F238E27FC236}">
                <a16:creationId xmlns:a16="http://schemas.microsoft.com/office/drawing/2014/main" id="{ACECB243-EA4D-86AF-FDC2-FC6DE42EC7DB}"/>
              </a:ext>
            </a:extLst>
          </p:cNvPr>
          <p:cNvCxnSpPr/>
          <p:nvPr/>
        </p:nvCxnSpPr>
        <p:spPr>
          <a:xfrm>
            <a:off x="4362450" y="2286000"/>
            <a:ext cx="1733550" cy="428625"/>
          </a:xfrm>
          <a:prstGeom prst="curved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89374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81332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9331410-0FAD-F06A-637F-E2A09310C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797" y="274639"/>
            <a:ext cx="10972800" cy="1143000"/>
          </a:xfrm>
        </p:spPr>
        <p:txBody>
          <a:bodyPr/>
          <a:lstStyle/>
          <a:p>
            <a:r>
              <a:rPr lang="en-US" dirty="0" err="1"/>
              <a:t>Hvor</a:t>
            </a:r>
            <a:r>
              <a:rPr lang="en-US" dirty="0"/>
              <a:t> </a:t>
            </a:r>
            <a:r>
              <a:rPr lang="en-US" dirty="0" err="1"/>
              <a:t>finner</a:t>
            </a:r>
            <a:r>
              <a:rPr lang="en-US" dirty="0"/>
              <a:t> du </a:t>
            </a:r>
            <a:r>
              <a:rPr lang="en-US" dirty="0" err="1"/>
              <a:t>informasjon</a:t>
            </a:r>
            <a:r>
              <a:rPr lang="en-US" dirty="0"/>
              <a:t>?</a:t>
            </a:r>
            <a:endParaRPr lang="en-US" dirty="0" err="1">
              <a:cs typeface="Arial"/>
            </a:endParaRPr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6243E766-5E14-47DC-AF83-2998BEAC97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274997" cy="4525963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nb-NO" sz="2650" dirty="0">
                <a:ea typeface="+mn-lt"/>
                <a:cs typeface="+mn-lt"/>
              </a:rPr>
              <a:t>Prosjektets nettsider:</a:t>
            </a:r>
          </a:p>
          <a:p>
            <a:pPr marL="0" lvl="0" indent="0">
              <a:buNone/>
            </a:pPr>
            <a:r>
              <a:rPr lang="nb-NO" sz="2650" dirty="0">
                <a:ea typeface="+mn-lt"/>
                <a:cs typeface="+mn-lt"/>
                <a:hlinkClick r:id="rId2"/>
              </a:rPr>
              <a:t>https://avinor.no/ny-flyplass-mo-i-rana/</a:t>
            </a:r>
            <a:endParaRPr lang="nb-NO" sz="2650">
              <a:cs typeface="Arial"/>
            </a:endParaRPr>
          </a:p>
          <a:p>
            <a:pPr marL="0" indent="0">
              <a:buNone/>
            </a:pPr>
            <a:endParaRPr lang="nb-NO" sz="2650" dirty="0">
              <a:cs typeface="Arial"/>
            </a:endParaRPr>
          </a:p>
          <a:p>
            <a:pPr marL="0" indent="0">
              <a:buNone/>
            </a:pPr>
            <a:endParaRPr lang="nb-NO" sz="2650" dirty="0">
              <a:cs typeface="Arial"/>
            </a:endParaRPr>
          </a:p>
          <a:p>
            <a:pPr marL="0" indent="0">
              <a:buNone/>
            </a:pPr>
            <a:endParaRPr lang="nb-NO" sz="2650" dirty="0">
              <a:cs typeface="Arial"/>
            </a:endParaRPr>
          </a:p>
          <a:p>
            <a:endParaRPr lang="nb-NO" dirty="0">
              <a:cs typeface="Arial"/>
            </a:endParaRPr>
          </a:p>
        </p:txBody>
      </p:sp>
      <p:pic>
        <p:nvPicPr>
          <p:cNvPr id="5" name="Bilde 5" descr="Et bilde som inneholder utendørs, fjell, natur, stein&#10;&#10;Automatisk generert beskrivelse">
            <a:extLst>
              <a:ext uri="{FF2B5EF4-FFF2-40B4-BE49-F238E27FC236}">
                <a16:creationId xmlns:a16="http://schemas.microsoft.com/office/drawing/2014/main" id="{75416099-2B1B-D580-7724-276332849DFF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499797" y="1599910"/>
            <a:ext cx="5384800" cy="3037579"/>
          </a:xfrm>
        </p:spPr>
      </p:pic>
    </p:spTree>
    <p:extLst>
      <p:ext uri="{BB962C8B-B14F-4D97-AF65-F5344CB8AC3E}">
        <p14:creationId xmlns:p14="http://schemas.microsoft.com/office/powerpoint/2010/main" val="13239086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963C0F9A-29B7-425E-BBEC-18D50DC98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Introduksjon</a:t>
            </a:r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F56F7C56-A259-4E41-915E-93A0644C367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nb-NO" dirty="0"/>
              <a:t>Presentasjon av Avinor og AF Gruppen</a:t>
            </a:r>
          </a:p>
          <a:p>
            <a:r>
              <a:rPr lang="nb-NO" dirty="0"/>
              <a:t>Nabomøtets formål</a:t>
            </a:r>
          </a:p>
          <a:p>
            <a:pPr lvl="1"/>
            <a:r>
              <a:rPr lang="nb-NO" dirty="0"/>
              <a:t>Presentere arbeider som er planlagt fra mai til september 2023</a:t>
            </a:r>
          </a:p>
          <a:p>
            <a:r>
              <a:rPr lang="nb-NO" dirty="0"/>
              <a:t>Spørsmål og svar</a:t>
            </a:r>
          </a:p>
          <a:p>
            <a:pPr lvl="1"/>
            <a:r>
              <a:rPr lang="nb-NO" dirty="0"/>
              <a:t>Spørsmål relatert til enkelteiendommer, og enkeltpersoner, kan ikke besvares i plenum. </a:t>
            </a:r>
          </a:p>
          <a:p>
            <a:pPr lvl="1"/>
            <a:r>
              <a:rPr lang="nb-NO" dirty="0"/>
              <a:t>Spørsmål stiles til Avinor på: </a:t>
            </a:r>
            <a:br>
              <a:rPr lang="nb-NO" dirty="0"/>
            </a:br>
            <a:r>
              <a:rPr lang="nb-NO" dirty="0">
                <a:hlinkClick r:id="rId2"/>
              </a:rPr>
              <a:t>https://avinor.no/ny-flyplass-mo-i-rana/kontaktinformasjon/</a:t>
            </a:r>
            <a:endParaRPr lang="nb-NO" dirty="0"/>
          </a:p>
          <a:p>
            <a:pPr lvl="1"/>
            <a:r>
              <a:rPr lang="nb-NO" dirty="0"/>
              <a:t>Kontaktperson i Avinor: Hedda Hiller</a:t>
            </a:r>
          </a:p>
        </p:txBody>
      </p:sp>
    </p:spTree>
    <p:extLst>
      <p:ext uri="{BB962C8B-B14F-4D97-AF65-F5344CB8AC3E}">
        <p14:creationId xmlns:p14="http://schemas.microsoft.com/office/powerpoint/2010/main" val="21552711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B51EB732-6396-AD3F-46BC-6CF0533A2A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Videobesiktigelse utføres av Rambøll </a:t>
            </a:r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10DC7AF8-E95C-7912-97BD-5060536DF62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 uke 17 startet Rambøll jobben med å gjennomføre videobesiktigelse av de nærmeste eiendommene ved Ny lufthavn Mo i Rana. </a:t>
            </a:r>
            <a:endParaRPr lang="nb-NO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2000" dirty="0">
                <a:latin typeface="Calibri" panose="020F0502020204030204" pitchFamily="34" charset="0"/>
                <a:cs typeface="Times New Roman" panose="02020603050405020304" pitchFamily="18" charset="0"/>
              </a:rPr>
              <a:t>Vi anbefaler våre naboer å ta i mot dette tilbudet, da det </a:t>
            </a:r>
            <a:r>
              <a:rPr lang="nb-NO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 stor grad vil sikre at det ikke oppstår uoverensstemmelser om hvordan situasjonen var før bygge- og anleggsarbeidet ble igangsatt.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2000" dirty="0">
                <a:latin typeface="Calibri" panose="020F0502020204030204" pitchFamily="34" charset="0"/>
                <a:cs typeface="Times New Roman" panose="02020603050405020304" pitchFamily="18" charset="0"/>
              </a:rPr>
              <a:t>Om det oppstår skader, ta kontakt med ditt forsikringsselskap.</a:t>
            </a:r>
            <a:endParaRPr lang="nb-NO" sz="2000" dirty="0"/>
          </a:p>
        </p:txBody>
      </p:sp>
      <p:pic>
        <p:nvPicPr>
          <p:cNvPr id="8" name="Plassholder for innhold 7" descr="Et bilde som inneholder person, utendørs, mann&#10;&#10;Automatisk generert beskrivelse">
            <a:extLst>
              <a:ext uri="{FF2B5EF4-FFF2-40B4-BE49-F238E27FC236}">
                <a16:creationId xmlns:a16="http://schemas.microsoft.com/office/drawing/2014/main" id="{956383C5-643B-9D26-90F8-E10670FB77D3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7600" y="1600202"/>
            <a:ext cx="5654939" cy="4241204"/>
          </a:xfrm>
        </p:spPr>
      </p:pic>
    </p:spTree>
    <p:extLst>
      <p:ext uri="{BB962C8B-B14F-4D97-AF65-F5344CB8AC3E}">
        <p14:creationId xmlns:p14="http://schemas.microsoft.com/office/powerpoint/2010/main" val="15495753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0C32BBA5-A909-2AC6-4213-454824EDE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artlegging av drikkevannsbrønner </a:t>
            </a:r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5E7188A6-7C3B-612D-40EC-140089D88EE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vert="horz" lIns="91440" tIns="45720" rIns="91440" bIns="45720" rtlCol="0" anchor="t">
            <a:normAutofit lnSpcReduction="10000"/>
          </a:bodyPr>
          <a:lstStyle/>
          <a:p>
            <a:pPr marL="0" indent="0">
              <a:buNone/>
            </a:pPr>
            <a:r>
              <a:rPr lang="nb-NO" sz="1800" dirty="0">
                <a:solidFill>
                  <a:srgbClr val="000000"/>
                </a:solidFill>
              </a:rPr>
              <a:t>Avinor/Rambøll starter kartlegging av brønner i kommende uker. </a:t>
            </a:r>
            <a:endParaRPr lang="nb-NO" dirty="0"/>
          </a:p>
          <a:p>
            <a:pPr marL="0" indent="0">
              <a:buNone/>
            </a:pPr>
            <a:endParaRPr lang="nb-NO" sz="1800" dirty="0">
              <a:solidFill>
                <a:srgbClr val="000000"/>
              </a:solidFill>
              <a:cs typeface="Arial"/>
            </a:endParaRPr>
          </a:p>
          <a:p>
            <a:pPr marL="0" indent="0">
              <a:buNone/>
            </a:pPr>
            <a:r>
              <a:rPr lang="nb-NO" sz="1800" dirty="0">
                <a:solidFill>
                  <a:srgbClr val="000000"/>
                </a:solidFill>
              </a:rPr>
              <a:t>I første omgang sendes brev til naboer med et spørreskjema for informasjonsinnhenting. Brevet sendes til naboer i et forholdsvis bredt omfang. Basert på informasjonsinnhentingen besluttes det hvilke brønner det skal utføres vannprøvetaking på.  </a:t>
            </a:r>
            <a:endParaRPr lang="nb-NO"/>
          </a:p>
          <a:p>
            <a:pPr marL="0" indent="0">
              <a:buNone/>
            </a:pPr>
            <a:endParaRPr lang="nb-NO" sz="1800" dirty="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nb-NO" sz="1800" dirty="0">
                <a:solidFill>
                  <a:srgbClr val="000000"/>
                </a:solidFill>
              </a:rPr>
              <a:t>Det oppfordres til å ta seg tid til å svare ut spørreskjemaet som vil komme per post da dette er viktig informasjon for en videre kartlegging av drikkevannsbrønner i området til Ny lufthavn Mo i Rana. </a:t>
            </a:r>
          </a:p>
          <a:p>
            <a:pPr marL="0" indent="0">
              <a:buNone/>
            </a:pPr>
            <a:endParaRPr lang="nb-NO" sz="1800" dirty="0">
              <a:solidFill>
                <a:srgbClr val="000000"/>
              </a:solidFill>
              <a:cs typeface="Arial"/>
            </a:endParaRPr>
          </a:p>
          <a:p>
            <a:pPr marL="0" indent="0">
              <a:buNone/>
            </a:pPr>
            <a:r>
              <a:rPr lang="nb-NO" sz="1800" dirty="0">
                <a:solidFill>
                  <a:srgbClr val="000000"/>
                </a:solidFill>
                <a:cs typeface="Arial"/>
              </a:rPr>
              <a:t>Skjema kan også leveres i postkasse ved hovedinngangen til Samspillsriggen, Svenskveien 387.</a:t>
            </a:r>
          </a:p>
          <a:p>
            <a:endParaRPr lang="nb-NO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35586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DD203398-D659-4CD0-A95D-BD99088AD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F Gruppen</a:t>
            </a:r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A0491A5C-D8EE-45DA-9516-9CAC6CA275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nb-NO" sz="2400" dirty="0"/>
              <a:t>Avinor inngikk 30. mars en avtale med AF Gruppen</a:t>
            </a:r>
          </a:p>
          <a:p>
            <a:pPr marL="0" indent="0">
              <a:buNone/>
            </a:pPr>
            <a:r>
              <a:rPr lang="nb-NO" sz="2400" dirty="0"/>
              <a:t>om oppstart av første del av hovedjobben</a:t>
            </a:r>
          </a:p>
          <a:p>
            <a:pPr marL="0" indent="0">
              <a:buNone/>
            </a:pPr>
            <a:r>
              <a:rPr lang="nb-NO" sz="2400" dirty="0"/>
              <a:t>på ny lufthavn Mo i Rana i </a:t>
            </a:r>
            <a:r>
              <a:rPr lang="nb-NO" sz="2400" dirty="0" err="1"/>
              <a:t>Fagerlia</a:t>
            </a:r>
            <a:r>
              <a:rPr lang="nb-NO" sz="2400" dirty="0"/>
              <a:t>.</a:t>
            </a:r>
          </a:p>
          <a:p>
            <a:pPr marL="0" indent="0">
              <a:buNone/>
            </a:pPr>
            <a:endParaRPr lang="nb-NO" sz="2400" dirty="0"/>
          </a:p>
          <a:p>
            <a:pPr marL="0" indent="0">
              <a:buNone/>
            </a:pPr>
            <a:r>
              <a:rPr lang="nb-NO" sz="2400" dirty="0"/>
              <a:t>Avtalen sikrer fremdrift i prosjektet og medfører at </a:t>
            </a:r>
          </a:p>
          <a:p>
            <a:pPr marL="0" indent="0">
              <a:buNone/>
            </a:pPr>
            <a:r>
              <a:rPr lang="nb-NO" sz="2400" dirty="0"/>
              <a:t>AF gruppen vil starte anleggsarbeider i slutten av </a:t>
            </a:r>
          </a:p>
          <a:p>
            <a:pPr marL="0" indent="0">
              <a:buNone/>
            </a:pPr>
            <a:r>
              <a:rPr lang="nb-NO" sz="2400" dirty="0"/>
              <a:t>mai måned.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35D5C120-7897-7817-9C55-31EBC62F4C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27582" y="224985"/>
            <a:ext cx="3836585" cy="607148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468696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DD203398-D659-4CD0-A95D-BD99088AD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b="1" dirty="0">
                <a:solidFill>
                  <a:schemeClr val="tx1"/>
                </a:solidFill>
                <a:latin typeface="Arial"/>
                <a:cs typeface="Arial"/>
              </a:rPr>
              <a:t>AF Gruppen, </a:t>
            </a:r>
            <a:r>
              <a:rPr lang="sv-SE" b="1" err="1">
                <a:solidFill>
                  <a:schemeClr val="tx1"/>
                </a:solidFill>
                <a:latin typeface="Arial"/>
                <a:cs typeface="Arial"/>
              </a:rPr>
              <a:t>oppstart</a:t>
            </a:r>
            <a:r>
              <a:rPr lang="sv-SE" b="1" dirty="0">
                <a:solidFill>
                  <a:schemeClr val="tx1"/>
                </a:solidFill>
                <a:latin typeface="Arial"/>
                <a:cs typeface="Arial"/>
              </a:rPr>
              <a:t> i </a:t>
            </a:r>
            <a:r>
              <a:rPr lang="sv-SE" b="1" err="1">
                <a:solidFill>
                  <a:schemeClr val="tx1"/>
                </a:solidFill>
                <a:latin typeface="Arial"/>
                <a:cs typeface="Arial"/>
              </a:rPr>
              <a:t>Fagerlia</a:t>
            </a:r>
            <a:r>
              <a:rPr lang="sv-SE" b="1" dirty="0">
                <a:solidFill>
                  <a:schemeClr val="tx1"/>
                </a:solidFill>
                <a:latin typeface="Arial"/>
                <a:cs typeface="Arial"/>
              </a:rPr>
              <a:t> </a:t>
            </a:r>
            <a:endParaRPr lang="sv-SE" b="1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A0491A5C-D8EE-45DA-9516-9CAC6CA275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9797" y="1367884"/>
            <a:ext cx="10972800" cy="4758280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endParaRPr lang="nb-NO" dirty="0">
              <a:solidFill>
                <a:srgbClr val="1D1D1D"/>
              </a:solidFill>
            </a:endParaRPr>
          </a:p>
          <a:p>
            <a:pPr marL="989965" lvl="1" indent="-380365"/>
            <a:r>
              <a:rPr lang="nb-NO" sz="2650">
                <a:solidFill>
                  <a:srgbClr val="84236B"/>
                </a:solidFill>
              </a:rPr>
              <a:t>Hvem er AF Gruppen Norge AS og AF Anlegg?</a:t>
            </a:r>
            <a:endParaRPr lang="nb-NO" sz="2650">
              <a:cs typeface="Arial"/>
            </a:endParaRPr>
          </a:p>
          <a:p>
            <a:pPr marL="989965" lvl="1" indent="-380365"/>
            <a:r>
              <a:rPr lang="nb-NO" sz="2650" dirty="0"/>
              <a:t>Områdeinndeling for kommunikasjon og stedsangivelse</a:t>
            </a:r>
            <a:endParaRPr lang="nb-NO" sz="2650" dirty="0">
              <a:cs typeface="Arial"/>
            </a:endParaRPr>
          </a:p>
          <a:p>
            <a:pPr marL="989965" lvl="1" indent="-380365"/>
            <a:r>
              <a:rPr lang="nb-NO" sz="2650" dirty="0"/>
              <a:t>Planlagt fremdrift, visuell fremstilling</a:t>
            </a:r>
            <a:endParaRPr lang="nb-NO" sz="2650" dirty="0">
              <a:cs typeface="Arial"/>
            </a:endParaRPr>
          </a:p>
          <a:p>
            <a:pPr marL="989965" lvl="1" indent="-380365"/>
            <a:r>
              <a:rPr lang="nb-NO" sz="2650" dirty="0"/>
              <a:t>Arbeidstider</a:t>
            </a:r>
            <a:endParaRPr lang="nb-NO" sz="2650" dirty="0">
              <a:cs typeface="Arial"/>
            </a:endParaRPr>
          </a:p>
          <a:p>
            <a:pPr marL="989965" lvl="1" indent="-380365"/>
            <a:r>
              <a:rPr lang="nb-NO" sz="2650" dirty="0"/>
              <a:t>Sprengningsarbeider</a:t>
            </a:r>
            <a:endParaRPr lang="nb-NO" sz="2650" dirty="0">
              <a:cs typeface="Arial"/>
            </a:endParaRPr>
          </a:p>
          <a:p>
            <a:pPr marL="989965" lvl="1" indent="-380365"/>
            <a:r>
              <a:rPr lang="nb-NO" sz="2650" dirty="0"/>
              <a:t>Støv, støy, sikring av området</a:t>
            </a:r>
            <a:endParaRPr lang="nb-NO" sz="2650" dirty="0">
              <a:cs typeface="Arial"/>
            </a:endParaRPr>
          </a:p>
          <a:p>
            <a:pPr marL="989965" lvl="1" indent="-380365"/>
            <a:r>
              <a:rPr lang="nb-NO" sz="2650" dirty="0"/>
              <a:t>Overflatevann, overvåkning</a:t>
            </a:r>
            <a:endParaRPr lang="nb-NO" sz="2650" dirty="0">
              <a:cs typeface="Arial"/>
            </a:endParaRPr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376829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02" name="Objekt 7" hidden="1">
            <a:extLst>
              <a:ext uri="{FF2B5EF4-FFF2-40B4-BE49-F238E27FC236}">
                <a16:creationId xmlns:a16="http://schemas.microsoft.com/office/drawing/2014/main" id="{A146B50E-0A83-483D-822C-CCF173974B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9" progId="TCLayout.ActiveDocument.1">
                  <p:embed/>
                </p:oleObj>
              </mc:Choice>
              <mc:Fallback>
                <p:oleObj name="think-cell Slide" r:id="rId3" imgW="530" imgH="529" progId="TCLayout.ActiveDocument.1">
                  <p:embed/>
                  <p:pic>
                    <p:nvPicPr>
                      <p:cNvPr id="102402" name="Objekt 7" hidden="1">
                        <a:extLst>
                          <a:ext uri="{FF2B5EF4-FFF2-40B4-BE49-F238E27FC236}">
                            <a16:creationId xmlns:a16="http://schemas.microsoft.com/office/drawing/2014/main" id="{A146B50E-0A83-483D-822C-CCF173974BC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404" name="Plassholder for bilde 4" descr="Et bilde som inneholder plante, blomst, gul&#10;&#10;Automatisk generert beskrivelse">
            <a:extLst>
              <a:ext uri="{FF2B5EF4-FFF2-40B4-BE49-F238E27FC236}">
                <a16:creationId xmlns:a16="http://schemas.microsoft.com/office/drawing/2014/main" id="{73B63FFE-4AD3-4364-AA9D-FACE31F1E56F}"/>
              </a:ext>
            </a:extLst>
          </p:cNvPr>
          <p:cNvPicPr>
            <a:picLocks noGrp="1" noChangeAspect="1" noChangeArrowheads="1"/>
          </p:cNvPicPr>
          <p:nvPr>
            <p:ph type="pic" sz="quarter" idx="16"/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02403" name="Plassholder for tekst 6">
            <a:extLst>
              <a:ext uri="{FF2B5EF4-FFF2-40B4-BE49-F238E27FC236}">
                <a16:creationId xmlns:a16="http://schemas.microsoft.com/office/drawing/2014/main" id="{D3051B06-5CE2-40C3-8528-37258A33AFBB}"/>
              </a:ext>
            </a:extLst>
          </p:cNvPr>
          <p:cNvSpPr>
            <a:spLocks noGrp="1" noChangeArrowheads="1"/>
          </p:cNvSpPr>
          <p:nvPr>
            <p:ph type="body" sz="quarter" idx="17"/>
          </p:nvPr>
        </p:nvSpPr>
        <p:spPr/>
        <p:txBody>
          <a:bodyPr/>
          <a:lstStyle/>
          <a:p>
            <a:pPr eaLnBrk="1" hangingPunct="1"/>
            <a:r>
              <a:rPr lang="nb-NO" altLang="nb-NO">
                <a:solidFill>
                  <a:schemeClr val="accent1"/>
                </a:solidFill>
              </a:rPr>
              <a:t>Visjon</a:t>
            </a:r>
          </a:p>
          <a:p>
            <a:pPr eaLnBrk="1" hangingPunct="1"/>
            <a:r>
              <a:rPr lang="nb-NO" altLang="nb-NO" sz="2800"/>
              <a:t>Vi rydder fra fortiden </a:t>
            </a:r>
            <a:br>
              <a:rPr lang="nb-NO" altLang="nb-NO" sz="2800"/>
            </a:br>
            <a:r>
              <a:rPr lang="nb-NO" altLang="nb-NO" sz="2800"/>
              <a:t>og bygger for fremtiden</a:t>
            </a:r>
          </a:p>
          <a:p>
            <a:pPr eaLnBrk="1" hangingPunct="1"/>
            <a:endParaRPr lang="nb-NO" altLang="nb-NO"/>
          </a:p>
          <a:p>
            <a:pPr eaLnBrk="1" hangingPunct="1"/>
            <a:r>
              <a:rPr lang="nb-NO" altLang="nb-NO">
                <a:solidFill>
                  <a:schemeClr val="accent1"/>
                </a:solidFill>
              </a:rPr>
              <a:t>Forretningsidé</a:t>
            </a:r>
          </a:p>
          <a:p>
            <a:pPr eaLnBrk="1" hangingPunct="1"/>
            <a:r>
              <a:rPr lang="nb-NO" altLang="nb-NO" sz="2800"/>
              <a:t>Skape verdier og muligheter </a:t>
            </a:r>
            <a:br>
              <a:rPr lang="nb-NO" altLang="nb-NO" sz="2800"/>
            </a:br>
            <a:r>
              <a:rPr lang="nb-NO" altLang="nb-NO" sz="2800"/>
              <a:t>gjennom prosjektvirksomhet </a:t>
            </a:r>
            <a:br>
              <a:rPr lang="nb-NO" altLang="nb-NO" sz="2800"/>
            </a:br>
            <a:r>
              <a:rPr lang="nb-NO" altLang="nb-NO" sz="2800"/>
              <a:t>med en kompromissløs holdning </a:t>
            </a:r>
            <a:br>
              <a:rPr lang="nb-NO" altLang="nb-NO" sz="2800"/>
            </a:br>
            <a:r>
              <a:rPr lang="nb-NO" altLang="nb-NO" sz="2800"/>
              <a:t>til sikkerhet og etikk</a:t>
            </a:r>
          </a:p>
          <a:p>
            <a:pPr eaLnBrk="1" hangingPunct="1"/>
            <a:endParaRPr lang="nb-NO" altLang="nb-NO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Sweco/Avinor-Format-16-9">
  <a:themeElements>
    <a:clrScheme name="AVINOR">
      <a:dk1>
        <a:srgbClr val="1D1D1D"/>
      </a:dk1>
      <a:lt1>
        <a:sysClr val="window" lastClr="FFFFFF"/>
      </a:lt1>
      <a:dk2>
        <a:srgbClr val="84236B"/>
      </a:dk2>
      <a:lt2>
        <a:srgbClr val="6BDBD0"/>
      </a:lt2>
      <a:accent1>
        <a:srgbClr val="471C59"/>
      </a:accent1>
      <a:accent2>
        <a:srgbClr val="FBB034"/>
      </a:accent2>
      <a:accent3>
        <a:srgbClr val="FE3B00"/>
      </a:accent3>
      <a:accent4>
        <a:srgbClr val="3F3F3F"/>
      </a:accent4>
      <a:accent5>
        <a:srgbClr val="A5A5A5"/>
      </a:accent5>
      <a:accent6>
        <a:srgbClr val="D8D8D8"/>
      </a:accent6>
      <a:hlink>
        <a:srgbClr val="84236B"/>
      </a:hlink>
      <a:folHlink>
        <a:srgbClr val="471C59"/>
      </a:folHlink>
    </a:clrScheme>
    <a:fontScheme name="AVIN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odul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7500"/>
                <a:satMod val="137000"/>
              </a:schemeClr>
            </a:gs>
            <a:gs pos="55000">
              <a:schemeClr val="phClr">
                <a:shade val="69000"/>
                <a:satMod val="137000"/>
              </a:schemeClr>
            </a:gs>
            <a:gs pos="100000">
              <a:schemeClr val="phClr">
                <a:shade val="98000"/>
                <a:satMod val="137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48000" cap="flat" cmpd="thickThin" algn="ctr">
          <a:solidFill>
            <a:schemeClr val="phClr"/>
          </a:solidFill>
          <a:prstDash val="solid"/>
        </a:ln>
        <a:ln w="48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5000" dist="25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1800000"/>
            </a:lightRig>
          </a:scene3d>
          <a:sp3d prstMaterial="matte">
            <a:bevelT h="200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descreen" id="{F079E28A-2928-4130-B7E3-483D105BA279}" vid="{54EC65A6-972C-4A4A-AC6C-17FC822C1E22}"/>
    </a:ext>
  </a:extLst>
</a:theme>
</file>

<file path=ppt/theme/theme10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Sweco/Avinor-Format-16-9">
  <a:themeElements>
    <a:clrScheme name="AVINOR">
      <a:dk1>
        <a:srgbClr val="1D1D1D"/>
      </a:dk1>
      <a:lt1>
        <a:sysClr val="window" lastClr="FFFFFF"/>
      </a:lt1>
      <a:dk2>
        <a:srgbClr val="84236B"/>
      </a:dk2>
      <a:lt2>
        <a:srgbClr val="6BDBD0"/>
      </a:lt2>
      <a:accent1>
        <a:srgbClr val="471C59"/>
      </a:accent1>
      <a:accent2>
        <a:srgbClr val="FBB034"/>
      </a:accent2>
      <a:accent3>
        <a:srgbClr val="FE3B00"/>
      </a:accent3>
      <a:accent4>
        <a:srgbClr val="3F3F3F"/>
      </a:accent4>
      <a:accent5>
        <a:srgbClr val="A5A5A5"/>
      </a:accent5>
      <a:accent6>
        <a:srgbClr val="D8D8D8"/>
      </a:accent6>
      <a:hlink>
        <a:srgbClr val="84236B"/>
      </a:hlink>
      <a:folHlink>
        <a:srgbClr val="471C59"/>
      </a:folHlink>
    </a:clrScheme>
    <a:fontScheme name="AVIN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odul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7500"/>
                <a:satMod val="137000"/>
              </a:schemeClr>
            </a:gs>
            <a:gs pos="55000">
              <a:schemeClr val="phClr">
                <a:shade val="69000"/>
                <a:satMod val="137000"/>
              </a:schemeClr>
            </a:gs>
            <a:gs pos="100000">
              <a:schemeClr val="phClr">
                <a:shade val="98000"/>
                <a:satMod val="137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48000" cap="flat" cmpd="thickThin" algn="ctr">
          <a:solidFill>
            <a:schemeClr val="phClr"/>
          </a:solidFill>
          <a:prstDash val="solid"/>
        </a:ln>
        <a:ln w="48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5000" dist="25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1800000"/>
            </a:lightRig>
          </a:scene3d>
          <a:sp3d prstMaterial="matte">
            <a:bevelT h="200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descreen" id="{F079E28A-2928-4130-B7E3-483D105BA279}" vid="{54EC65A6-972C-4A4A-AC6C-17FC822C1E22}"/>
    </a:ext>
  </a:extLst>
</a:theme>
</file>

<file path=ppt/theme/theme3.xml><?xml version="1.0" encoding="utf-8"?>
<a:theme xmlns:a="http://schemas.openxmlformats.org/drawingml/2006/main" name="2_Sweco/Avinor/AF-Format-16-9">
  <a:themeElements>
    <a:clrScheme name="AVINOR">
      <a:dk1>
        <a:srgbClr val="1D1D1D"/>
      </a:dk1>
      <a:lt1>
        <a:sysClr val="window" lastClr="FFFFFF"/>
      </a:lt1>
      <a:dk2>
        <a:srgbClr val="84236B"/>
      </a:dk2>
      <a:lt2>
        <a:srgbClr val="6BDBD0"/>
      </a:lt2>
      <a:accent1>
        <a:srgbClr val="471C59"/>
      </a:accent1>
      <a:accent2>
        <a:srgbClr val="FBB034"/>
      </a:accent2>
      <a:accent3>
        <a:srgbClr val="FE3B00"/>
      </a:accent3>
      <a:accent4>
        <a:srgbClr val="3F3F3F"/>
      </a:accent4>
      <a:accent5>
        <a:srgbClr val="A5A5A5"/>
      </a:accent5>
      <a:accent6>
        <a:srgbClr val="D8D8D8"/>
      </a:accent6>
      <a:hlink>
        <a:srgbClr val="84236B"/>
      </a:hlink>
      <a:folHlink>
        <a:srgbClr val="471C59"/>
      </a:folHlink>
    </a:clrScheme>
    <a:fontScheme name="AVIN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odul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7500"/>
                <a:satMod val="137000"/>
              </a:schemeClr>
            </a:gs>
            <a:gs pos="55000">
              <a:schemeClr val="phClr">
                <a:shade val="69000"/>
                <a:satMod val="137000"/>
              </a:schemeClr>
            </a:gs>
            <a:gs pos="100000">
              <a:schemeClr val="phClr">
                <a:shade val="98000"/>
                <a:satMod val="137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48000" cap="flat" cmpd="thickThin" algn="ctr">
          <a:solidFill>
            <a:schemeClr val="phClr"/>
          </a:solidFill>
          <a:prstDash val="solid"/>
        </a:ln>
        <a:ln w="48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5000" dist="25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1800000"/>
            </a:lightRig>
          </a:scene3d>
          <a:sp3d prstMaterial="matte">
            <a:bevelT h="200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descreen" id="{F079E28A-2928-4130-B7E3-483D105BA279}" vid="{54EC65A6-972C-4A4A-AC6C-17FC822C1E22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AFG">
  <a:themeElements>
    <a:clrScheme name="AF-Gruppen">
      <a:dk1>
        <a:srgbClr val="000000"/>
      </a:dk1>
      <a:lt1>
        <a:srgbClr val="FFFFFF"/>
      </a:lt1>
      <a:dk2>
        <a:srgbClr val="444444"/>
      </a:dk2>
      <a:lt2>
        <a:srgbClr val="F2F2F2"/>
      </a:lt2>
      <a:accent1>
        <a:srgbClr val="FECB00"/>
      </a:accent1>
      <a:accent2>
        <a:srgbClr val="444444"/>
      </a:accent2>
      <a:accent3>
        <a:srgbClr val="5FC8E5"/>
      </a:accent3>
      <a:accent4>
        <a:srgbClr val="654848"/>
      </a:accent4>
      <a:accent5>
        <a:srgbClr val="FF9749"/>
      </a:accent5>
      <a:accent6>
        <a:srgbClr val="AEAEAE"/>
      </a:accent6>
      <a:hlink>
        <a:srgbClr val="444444"/>
      </a:hlink>
      <a:folHlink>
        <a:srgbClr val="444444"/>
      </a:folHlink>
    </a:clrScheme>
    <a:fontScheme name="Konsernpresentasjon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F Gruppen powerpointmal" id="{5F00D0D7-FE95-45C8-8A60-C6605C306133}" vid="{7A1D2145-45D4-4F1D-ADF4-1F27D2B5D73D}"/>
    </a:ext>
  </a:extLst>
</a:theme>
</file>

<file path=ppt/theme/theme6.xml><?xml version="1.0" encoding="utf-8"?>
<a:theme xmlns:a="http://schemas.openxmlformats.org/drawingml/2006/main" name="2_AFG">
  <a:themeElements>
    <a:clrScheme name="AF-Gruppen">
      <a:dk1>
        <a:srgbClr val="000000"/>
      </a:dk1>
      <a:lt1>
        <a:srgbClr val="FFFFFF"/>
      </a:lt1>
      <a:dk2>
        <a:srgbClr val="444444"/>
      </a:dk2>
      <a:lt2>
        <a:srgbClr val="F2F2F2"/>
      </a:lt2>
      <a:accent1>
        <a:srgbClr val="FECB00"/>
      </a:accent1>
      <a:accent2>
        <a:srgbClr val="444444"/>
      </a:accent2>
      <a:accent3>
        <a:srgbClr val="5FC8E5"/>
      </a:accent3>
      <a:accent4>
        <a:srgbClr val="654848"/>
      </a:accent4>
      <a:accent5>
        <a:srgbClr val="FF9749"/>
      </a:accent5>
      <a:accent6>
        <a:srgbClr val="AEAEAE"/>
      </a:accent6>
      <a:hlink>
        <a:srgbClr val="444444"/>
      </a:hlink>
      <a:folHlink>
        <a:srgbClr val="444444"/>
      </a:folHlink>
    </a:clrScheme>
    <a:fontScheme name="Egendefinert 4">
      <a:majorFont>
        <a:latin typeface="Rubik"/>
        <a:ea typeface=""/>
        <a:cs typeface=""/>
      </a:majorFont>
      <a:minorFont>
        <a:latin typeface="Rub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F Gruppen powerpointmal" id="{5F00D0D7-FE95-45C8-8A60-C6605C306133}" vid="{7A1D2145-45D4-4F1D-ADF4-1F27D2B5D73D}"/>
    </a:ext>
  </a:extLst>
</a:theme>
</file>

<file path=ppt/theme/theme7.xml><?xml version="1.0" encoding="utf-8"?>
<a:theme xmlns:a="http://schemas.openxmlformats.org/drawingml/2006/main" name="AFG">
  <a:themeElements>
    <a:clrScheme name="AF-Gruppen">
      <a:dk1>
        <a:srgbClr val="000000"/>
      </a:dk1>
      <a:lt1>
        <a:srgbClr val="FFFFFF"/>
      </a:lt1>
      <a:dk2>
        <a:srgbClr val="444444"/>
      </a:dk2>
      <a:lt2>
        <a:srgbClr val="F2F2F2"/>
      </a:lt2>
      <a:accent1>
        <a:srgbClr val="FECB00"/>
      </a:accent1>
      <a:accent2>
        <a:srgbClr val="444444"/>
      </a:accent2>
      <a:accent3>
        <a:srgbClr val="5FC8E5"/>
      </a:accent3>
      <a:accent4>
        <a:srgbClr val="654848"/>
      </a:accent4>
      <a:accent5>
        <a:srgbClr val="FF9749"/>
      </a:accent5>
      <a:accent6>
        <a:srgbClr val="AEAEAE"/>
      </a:accent6>
      <a:hlink>
        <a:srgbClr val="444444"/>
      </a:hlink>
      <a:folHlink>
        <a:srgbClr val="44444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F Gruppen presentasjonsmal oktober 2022.potx" id="{6EA804C2-A793-44D9-935C-E0577F124A88}" vid="{5CE1A7FD-01A3-4474-83BF-7F1FBC434F05}"/>
    </a:ext>
  </a:extLst>
</a:theme>
</file>

<file path=ppt/theme/theme8.xml><?xml version="1.0" encoding="utf-8"?>
<a:theme xmlns:a="http://schemas.openxmlformats.org/drawingml/2006/main" name="1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EEDF8E73D07504AB5B725E82BC1CD7D" ma:contentTypeVersion="20" ma:contentTypeDescription="Create a new document." ma:contentTypeScope="" ma:versionID="6da9f3308729d5b277490e37f638e7fb">
  <xsd:schema xmlns:xsd="http://www.w3.org/2001/XMLSchema" xmlns:xs="http://www.w3.org/2001/XMLSchema" xmlns:p="http://schemas.microsoft.com/office/2006/metadata/properties" xmlns:ns2="5e30038d-b96a-4fa9-8d10-71f4faa9ffe8" xmlns:ns3="118c19b0-ae22-49fa-9fac-65577fbcc8fb" targetNamespace="http://schemas.microsoft.com/office/2006/metadata/properties" ma:root="true" ma:fieldsID="fcae7ed55e98deda7f0ef8748da99138" ns2:_="" ns3:_="">
    <xsd:import namespace="5e30038d-b96a-4fa9-8d10-71f4faa9ffe8"/>
    <xsd:import namespace="118c19b0-ae22-49fa-9fac-65577fbcc8f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OCR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Kommentar" minOccurs="0"/>
                <xsd:element ref="ns2:TarKS" minOccurs="0"/>
                <xsd:element ref="ns2:_x0031_" minOccurs="0"/>
                <xsd:element ref="ns2:_x0032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30038d-b96a-4fa9-8d10-71f4faa9ffe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9dd7e011-bb30-4412-ae0c-25ab964016f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Kommentar" ma:index="24" nillable="true" ma:displayName="Kommentar" ma:format="Dropdown" ma:internalName="Kommentar">
      <xsd:simpleType>
        <xsd:restriction base="dms:Note">
          <xsd:maxLength value="255"/>
        </xsd:restriction>
      </xsd:simpleType>
    </xsd:element>
    <xsd:element name="TarKS" ma:index="25" nillable="true" ma:displayName="Tar KS" ma:format="Dropdown" ma:list="UserInfo" ma:SharePointGroup="0" ma:internalName="TarKS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_x0031_" ma:index="26" nillable="true" ma:displayName="1" ma:format="Dropdown" ma:internalName="_x0031_">
      <xsd:simpleType>
        <xsd:restriction base="dms:Note">
          <xsd:maxLength value="255"/>
        </xsd:restriction>
      </xsd:simpleType>
    </xsd:element>
    <xsd:element name="_x0032_" ma:index="27" nillable="true" ma:displayName="2" ma:format="Dropdown" ma:internalName="_x0032_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8c19b0-ae22-49fa-9fac-65577fbcc8fb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20a3630-84f1-4a6b-8913-f96efa7bf036}" ma:internalName="TaxCatchAll" ma:showField="CatchAllData" ma:web="118c19b0-ae22-49fa-9fac-65577fbcc8f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e30038d-b96a-4fa9-8d10-71f4faa9ffe8">
      <Terms xmlns="http://schemas.microsoft.com/office/infopath/2007/PartnerControls"/>
    </lcf76f155ced4ddcb4097134ff3c332f>
    <_x0031_ xmlns="5e30038d-b96a-4fa9-8d10-71f4faa9ffe8" xsi:nil="true"/>
    <TarKS xmlns="5e30038d-b96a-4fa9-8d10-71f4faa9ffe8">
      <UserInfo>
        <DisplayName/>
        <AccountId xsi:nil="true"/>
        <AccountType/>
      </UserInfo>
    </TarKS>
    <_x0032_ xmlns="5e30038d-b96a-4fa9-8d10-71f4faa9ffe8" xsi:nil="true"/>
    <TaxCatchAll xmlns="118c19b0-ae22-49fa-9fac-65577fbcc8fb" xsi:nil="true"/>
    <Kommentar xmlns="5e30038d-b96a-4fa9-8d10-71f4faa9ffe8" xsi:nil="true"/>
    <SharedWithUsers xmlns="118c19b0-ae22-49fa-9fac-65577fbcc8fb">
      <UserInfo>
        <DisplayName>Sande, Anette</DisplayName>
        <AccountId>51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DCBB457E-12AF-4C5A-AD5A-1121FA51655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21AE2A2-A379-46DA-9B0A-F0326AB8C4F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e30038d-b96a-4fa9-8d10-71f4faa9ffe8"/>
    <ds:schemaRef ds:uri="118c19b0-ae22-49fa-9fac-65577fbcc8f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DD22385-196D-4434-9E01-4AD5341B7372}">
  <ds:schemaRefs>
    <ds:schemaRef ds:uri="http://schemas.microsoft.com/office/2006/metadata/properties"/>
    <ds:schemaRef ds:uri="118c19b0-ae22-49fa-9fac-65577fbcc8fb"/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purl.org/dc/elements/1.1/"/>
    <ds:schemaRef ds:uri="http://purl.org/dc/dcmitype/"/>
    <ds:schemaRef ds:uri="5e30038d-b96a-4fa9-8d10-71f4faa9ffe8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63</TotalTime>
  <Words>1141</Words>
  <Application>Microsoft Office PowerPoint</Application>
  <PresentationFormat>Widescreen</PresentationFormat>
  <Paragraphs>212</Paragraphs>
  <Slides>25</Slides>
  <Notes>2</Notes>
  <HiddenSlides>0</HiddenSlides>
  <MMClips>0</MMClips>
  <ScaleCrop>false</ScaleCrop>
  <HeadingPairs>
    <vt:vector size="8" baseType="variant">
      <vt:variant>
        <vt:lpstr>Brukte skrifter</vt:lpstr>
      </vt:variant>
      <vt:variant>
        <vt:i4>8</vt:i4>
      </vt:variant>
      <vt:variant>
        <vt:lpstr>Tema</vt:lpstr>
      </vt:variant>
      <vt:variant>
        <vt:i4>8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5</vt:i4>
      </vt:variant>
    </vt:vector>
  </HeadingPairs>
  <TitlesOfParts>
    <vt:vector size="42" baseType="lpstr">
      <vt:lpstr>Arial</vt:lpstr>
      <vt:lpstr>Calibri</vt:lpstr>
      <vt:lpstr>Calibri Light</vt:lpstr>
      <vt:lpstr>Myriad Pro</vt:lpstr>
      <vt:lpstr>Myriad Pro Light</vt:lpstr>
      <vt:lpstr>MyriadPro-Regular</vt:lpstr>
      <vt:lpstr>Rubik</vt:lpstr>
      <vt:lpstr>Wingdings</vt:lpstr>
      <vt:lpstr>2_Sweco/Avinor-Format-16-9</vt:lpstr>
      <vt:lpstr>1_Sweco/Avinor-Format-16-9</vt:lpstr>
      <vt:lpstr>2_Sweco/Avinor/AF-Format-16-9</vt:lpstr>
      <vt:lpstr>Office-tema</vt:lpstr>
      <vt:lpstr>1_AFG</vt:lpstr>
      <vt:lpstr>2_AFG</vt:lpstr>
      <vt:lpstr>AFG</vt:lpstr>
      <vt:lpstr>1_Office-tema</vt:lpstr>
      <vt:lpstr>think-cell Slide</vt:lpstr>
      <vt:lpstr>ENMR – Mo i Rana lufthavn, Fagerlia</vt:lpstr>
      <vt:lpstr>Agenda</vt:lpstr>
      <vt:lpstr>Hvor finner du informasjon?</vt:lpstr>
      <vt:lpstr>Introduksjon</vt:lpstr>
      <vt:lpstr>Videobesiktigelse utføres av Rambøll </vt:lpstr>
      <vt:lpstr>Kartlegging av drikkevannsbrønner </vt:lpstr>
      <vt:lpstr>AF Gruppen</vt:lpstr>
      <vt:lpstr>AF Gruppen, oppstart i Fagerlia </vt:lpstr>
      <vt:lpstr>PowerPoint-presentasjon</vt:lpstr>
      <vt:lpstr>PowerPoint-presentasjon</vt:lpstr>
      <vt:lpstr>Våre virksomhetsområder</vt:lpstr>
      <vt:lpstr>Anleggsvirksomhet i Norge og Sverige</vt:lpstr>
      <vt:lpstr>ENMR – Mo i Rana lufthavn, Fagerlia</vt:lpstr>
      <vt:lpstr>ENMR – Mo i Rana lufthavn, Fagerlia</vt:lpstr>
      <vt:lpstr>Faseinndeling pr. område Utomhus (U) (eks. U4 Bygg)</vt:lpstr>
      <vt:lpstr>ENMR – Mo i Rana lufthavn, Fagerlia</vt:lpstr>
      <vt:lpstr>PowerPoint-presentasjon</vt:lpstr>
      <vt:lpstr>ENMR – Mo i Rana lufthavn, Fagerlia</vt:lpstr>
      <vt:lpstr>ENMR – Mo i Rana lufthavn, Fagerlia</vt:lpstr>
      <vt:lpstr>ENMR – Mo i Rana lufthavn, Fagerlia</vt:lpstr>
      <vt:lpstr>Hvordan jobber AF med miljø?</vt:lpstr>
      <vt:lpstr>Vannhåndtering</vt:lpstr>
      <vt:lpstr>Løsninger i anleggsfase</vt:lpstr>
      <vt:lpstr>Miljøovervåkning vann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MR – Mo i Rana lufthavn, Fagerlia</dc:title>
  <dc:creator>Eide, Aina</dc:creator>
  <cp:lastModifiedBy>Hiller, Hedda</cp:lastModifiedBy>
  <cp:revision>62</cp:revision>
  <dcterms:created xsi:type="dcterms:W3CDTF">2022-10-17T07:03:45Z</dcterms:created>
  <dcterms:modified xsi:type="dcterms:W3CDTF">2023-05-10T12:59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3f08ec5-d6d9-4227-8387-ccbfcb3632c4_Enabled">
    <vt:lpwstr>true</vt:lpwstr>
  </property>
  <property fmtid="{D5CDD505-2E9C-101B-9397-08002B2CF9AE}" pid="3" name="MSIP_Label_43f08ec5-d6d9-4227-8387-ccbfcb3632c4_SetDate">
    <vt:lpwstr>2022-10-17T07:03:46Z</vt:lpwstr>
  </property>
  <property fmtid="{D5CDD505-2E9C-101B-9397-08002B2CF9AE}" pid="4" name="MSIP_Label_43f08ec5-d6d9-4227-8387-ccbfcb3632c4_Method">
    <vt:lpwstr>Standard</vt:lpwstr>
  </property>
  <property fmtid="{D5CDD505-2E9C-101B-9397-08002B2CF9AE}" pid="5" name="MSIP_Label_43f08ec5-d6d9-4227-8387-ccbfcb3632c4_Name">
    <vt:lpwstr>Sweco Restricted</vt:lpwstr>
  </property>
  <property fmtid="{D5CDD505-2E9C-101B-9397-08002B2CF9AE}" pid="6" name="MSIP_Label_43f08ec5-d6d9-4227-8387-ccbfcb3632c4_SiteId">
    <vt:lpwstr>b7872ef0-9a00-4c18-8a4a-c7d25c778a9e</vt:lpwstr>
  </property>
  <property fmtid="{D5CDD505-2E9C-101B-9397-08002B2CF9AE}" pid="7" name="MSIP_Label_43f08ec5-d6d9-4227-8387-ccbfcb3632c4_ActionId">
    <vt:lpwstr>8966c4df-1663-48b0-ba58-3b41e35344d0</vt:lpwstr>
  </property>
  <property fmtid="{D5CDD505-2E9C-101B-9397-08002B2CF9AE}" pid="8" name="MSIP_Label_43f08ec5-d6d9-4227-8387-ccbfcb3632c4_ContentBits">
    <vt:lpwstr>0</vt:lpwstr>
  </property>
  <property fmtid="{D5CDD505-2E9C-101B-9397-08002B2CF9AE}" pid="9" name="ContentTypeId">
    <vt:lpwstr>0x0101009EEDF8E73D07504AB5B725E82BC1CD7D</vt:lpwstr>
  </property>
</Properties>
</file>